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sldIdLst>
    <p:sldId id="256" r:id="rId5"/>
    <p:sldId id="261" r:id="rId6"/>
    <p:sldId id="265" r:id="rId7"/>
    <p:sldId id="274" r:id="rId8"/>
    <p:sldId id="271" r:id="rId9"/>
    <p:sldId id="273" r:id="rId10"/>
    <p:sldId id="267" r:id="rId11"/>
    <p:sldId id="259" r:id="rId12"/>
    <p:sldId id="275" r:id="rId13"/>
    <p:sldId id="268" r:id="rId14"/>
    <p:sldId id="276" r:id="rId15"/>
  </p:sldIdLst>
  <p:sldSz cx="12192000" cy="6858000"/>
  <p:notesSz cx="6858000" cy="9144000"/>
  <p:custDataLst>
    <p:tags r:id="rId17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1398BAE-C4CF-4023-B763-56B3B0E2152D}">
          <p14:sldIdLst>
            <p14:sldId id="256"/>
            <p14:sldId id="261"/>
            <p14:sldId id="265"/>
            <p14:sldId id="274"/>
            <p14:sldId id="271"/>
            <p14:sldId id="273"/>
            <p14:sldId id="267"/>
            <p14:sldId id="259"/>
            <p14:sldId id="275"/>
            <p14:sldId id="268"/>
            <p14:sldId id="2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9369B"/>
    <a:srgbClr val="9FC9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870856-1BC7-4255-97F2-1977FF71BAFA}" v="43" dt="2020-06-11T08:08:46.27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4" d="100"/>
          <a:sy n="64" d="100"/>
        </p:scale>
        <p:origin x="208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olderer, Olga" userId="e2c1dea8-b971-43c0-be57-c12a42680f03" providerId="ADAL" clId="{5F870856-1BC7-4255-97F2-1977FF71BAFA}"/>
    <pc:docChg chg="custSel delSld modSld modSection">
      <pc:chgData name="Sholderer, Olga" userId="e2c1dea8-b971-43c0-be57-c12a42680f03" providerId="ADAL" clId="{5F870856-1BC7-4255-97F2-1977FF71BAFA}" dt="2020-06-11T08:09:38.043" v="149" actId="20577"/>
      <pc:docMkLst>
        <pc:docMk/>
      </pc:docMkLst>
      <pc:sldChg chg="addSp delSp">
        <pc:chgData name="Sholderer, Olga" userId="e2c1dea8-b971-43c0-be57-c12a42680f03" providerId="ADAL" clId="{5F870856-1BC7-4255-97F2-1977FF71BAFA}" dt="2020-06-11T08:08:40.543" v="103"/>
        <pc:sldMkLst>
          <pc:docMk/>
          <pc:sldMk cId="1140384275" sldId="259"/>
        </pc:sldMkLst>
        <pc:spChg chg="del">
          <ac:chgData name="Sholderer, Olga" userId="e2c1dea8-b971-43c0-be57-c12a42680f03" providerId="ADAL" clId="{5F870856-1BC7-4255-97F2-1977FF71BAFA}" dt="2020-06-11T07:52:49.149" v="52" actId="478"/>
          <ac:spMkLst>
            <pc:docMk/>
            <pc:sldMk cId="1140384275" sldId="259"/>
            <ac:spMk id="8" creationId="{5C9D8669-2832-44C8-BA55-67DECCC3423F}"/>
          </ac:spMkLst>
        </pc:spChg>
        <pc:spChg chg="add">
          <ac:chgData name="Sholderer, Olga" userId="e2c1dea8-b971-43c0-be57-c12a42680f03" providerId="ADAL" clId="{5F870856-1BC7-4255-97F2-1977FF71BAFA}" dt="2020-06-11T08:08:40.543" v="103"/>
          <ac:spMkLst>
            <pc:docMk/>
            <pc:sldMk cId="1140384275" sldId="259"/>
            <ac:spMk id="14" creationId="{1B4E55C5-6DEB-46C4-97DA-FC0B314C1A7F}"/>
          </ac:spMkLst>
        </pc:spChg>
      </pc:sldChg>
      <pc:sldChg chg="modSp">
        <pc:chgData name="Sholderer, Olga" userId="e2c1dea8-b971-43c0-be57-c12a42680f03" providerId="ADAL" clId="{5F870856-1BC7-4255-97F2-1977FF71BAFA}" dt="2020-06-11T08:09:38.043" v="149" actId="20577"/>
        <pc:sldMkLst>
          <pc:docMk/>
          <pc:sldMk cId="64895533" sldId="265"/>
        </pc:sldMkLst>
        <pc:spChg chg="mod">
          <ac:chgData name="Sholderer, Olga" userId="e2c1dea8-b971-43c0-be57-c12a42680f03" providerId="ADAL" clId="{5F870856-1BC7-4255-97F2-1977FF71BAFA}" dt="2020-06-11T08:08:03.520" v="98"/>
          <ac:spMkLst>
            <pc:docMk/>
            <pc:sldMk cId="64895533" sldId="265"/>
            <ac:spMk id="7" creationId="{C6EAE807-CC05-440C-93C0-DDE3F87C3E61}"/>
          </ac:spMkLst>
        </pc:spChg>
        <pc:spChg chg="mod">
          <ac:chgData name="Sholderer, Olga" userId="e2c1dea8-b971-43c0-be57-c12a42680f03" providerId="ADAL" clId="{5F870856-1BC7-4255-97F2-1977FF71BAFA}" dt="2020-06-11T08:09:38.043" v="149" actId="20577"/>
          <ac:spMkLst>
            <pc:docMk/>
            <pc:sldMk cId="64895533" sldId="265"/>
            <ac:spMk id="23" creationId="{8417A232-FC9B-4739-8E5A-7DE08DD97C2F}"/>
          </ac:spMkLst>
        </pc:spChg>
      </pc:sldChg>
      <pc:sldChg chg="del">
        <pc:chgData name="Sholderer, Olga" userId="e2c1dea8-b971-43c0-be57-c12a42680f03" providerId="ADAL" clId="{5F870856-1BC7-4255-97F2-1977FF71BAFA}" dt="2020-06-11T07:52:16.392" v="42" actId="2696"/>
        <pc:sldMkLst>
          <pc:docMk/>
          <pc:sldMk cId="3826877475" sldId="266"/>
        </pc:sldMkLst>
      </pc:sldChg>
      <pc:sldChg chg="addSp delSp">
        <pc:chgData name="Sholderer, Olga" userId="e2c1dea8-b971-43c0-be57-c12a42680f03" providerId="ADAL" clId="{5F870856-1BC7-4255-97F2-1977FF71BAFA}" dt="2020-06-11T08:08:38.766" v="102"/>
        <pc:sldMkLst>
          <pc:docMk/>
          <pc:sldMk cId="1922940790" sldId="267"/>
        </pc:sldMkLst>
        <pc:spChg chg="del">
          <ac:chgData name="Sholderer, Olga" userId="e2c1dea8-b971-43c0-be57-c12a42680f03" providerId="ADAL" clId="{5F870856-1BC7-4255-97F2-1977FF71BAFA}" dt="2020-06-11T07:52:45.870" v="51" actId="478"/>
          <ac:spMkLst>
            <pc:docMk/>
            <pc:sldMk cId="1922940790" sldId="267"/>
            <ac:spMk id="9" creationId="{43B4156E-57AC-4085-BB3A-AB4F8ECF9149}"/>
          </ac:spMkLst>
        </pc:spChg>
        <pc:spChg chg="add">
          <ac:chgData name="Sholderer, Olga" userId="e2c1dea8-b971-43c0-be57-c12a42680f03" providerId="ADAL" clId="{5F870856-1BC7-4255-97F2-1977FF71BAFA}" dt="2020-06-11T08:08:38.766" v="102"/>
          <ac:spMkLst>
            <pc:docMk/>
            <pc:sldMk cId="1922940790" sldId="267"/>
            <ac:spMk id="15" creationId="{0244A05D-D518-45BF-A0CA-431E2110327A}"/>
          </ac:spMkLst>
        </pc:spChg>
      </pc:sldChg>
      <pc:sldChg chg="addSp delSp modSp">
        <pc:chgData name="Sholderer, Olga" userId="e2c1dea8-b971-43c0-be57-c12a42680f03" providerId="ADAL" clId="{5F870856-1BC7-4255-97F2-1977FF71BAFA}" dt="2020-06-11T08:08:59.282" v="115" actId="20577"/>
        <pc:sldMkLst>
          <pc:docMk/>
          <pc:sldMk cId="3558918342" sldId="268"/>
        </pc:sldMkLst>
        <pc:spChg chg="mod">
          <ac:chgData name="Sholderer, Olga" userId="e2c1dea8-b971-43c0-be57-c12a42680f03" providerId="ADAL" clId="{5F870856-1BC7-4255-97F2-1977FF71BAFA}" dt="2020-06-11T08:08:59.282" v="115" actId="20577"/>
          <ac:spMkLst>
            <pc:docMk/>
            <pc:sldMk cId="3558918342" sldId="268"/>
            <ac:spMk id="3" creationId="{EE719EA8-1725-4E13-84C2-F065E45FB5F9}"/>
          </ac:spMkLst>
        </pc:spChg>
        <pc:spChg chg="del">
          <ac:chgData name="Sholderer, Olga" userId="e2c1dea8-b971-43c0-be57-c12a42680f03" providerId="ADAL" clId="{5F870856-1BC7-4255-97F2-1977FF71BAFA}" dt="2020-06-11T07:52:58.982" v="55" actId="478"/>
          <ac:spMkLst>
            <pc:docMk/>
            <pc:sldMk cId="3558918342" sldId="268"/>
            <ac:spMk id="6" creationId="{0B3E9750-8DD9-4416-888E-4B5409212574}"/>
          </ac:spMkLst>
        </pc:spChg>
        <pc:spChg chg="add">
          <ac:chgData name="Sholderer, Olga" userId="e2c1dea8-b971-43c0-be57-c12a42680f03" providerId="ADAL" clId="{5F870856-1BC7-4255-97F2-1977FF71BAFA}" dt="2020-06-11T08:08:43.783" v="105"/>
          <ac:spMkLst>
            <pc:docMk/>
            <pc:sldMk cId="3558918342" sldId="268"/>
            <ac:spMk id="14" creationId="{F3DE69C7-BDC7-4C40-9D5C-BC5F7400FAD0}"/>
          </ac:spMkLst>
        </pc:spChg>
      </pc:sldChg>
      <pc:sldChg chg="addSp delSp">
        <pc:chgData name="Sholderer, Olga" userId="e2c1dea8-b971-43c0-be57-c12a42680f03" providerId="ADAL" clId="{5F870856-1BC7-4255-97F2-1977FF71BAFA}" dt="2020-06-11T08:08:35.936" v="100"/>
        <pc:sldMkLst>
          <pc:docMk/>
          <pc:sldMk cId="391497991" sldId="271"/>
        </pc:sldMkLst>
        <pc:spChg chg="del">
          <ac:chgData name="Sholderer, Olga" userId="e2c1dea8-b971-43c0-be57-c12a42680f03" providerId="ADAL" clId="{5F870856-1BC7-4255-97F2-1977FF71BAFA}" dt="2020-06-11T07:52:38.436" v="49" actId="478"/>
          <ac:spMkLst>
            <pc:docMk/>
            <pc:sldMk cId="391497991" sldId="271"/>
            <ac:spMk id="6" creationId="{5D918C56-9F95-4D26-AB22-2FE31BB907E8}"/>
          </ac:spMkLst>
        </pc:spChg>
        <pc:spChg chg="add">
          <ac:chgData name="Sholderer, Olga" userId="e2c1dea8-b971-43c0-be57-c12a42680f03" providerId="ADAL" clId="{5F870856-1BC7-4255-97F2-1977FF71BAFA}" dt="2020-06-11T08:08:35.936" v="100"/>
          <ac:spMkLst>
            <pc:docMk/>
            <pc:sldMk cId="391497991" sldId="271"/>
            <ac:spMk id="15" creationId="{809DDF38-3FF0-4C9F-BDD8-EE4BEC841324}"/>
          </ac:spMkLst>
        </pc:spChg>
      </pc:sldChg>
      <pc:sldChg chg="addSp delSp">
        <pc:chgData name="Sholderer, Olga" userId="e2c1dea8-b971-43c0-be57-c12a42680f03" providerId="ADAL" clId="{5F870856-1BC7-4255-97F2-1977FF71BAFA}" dt="2020-06-11T08:08:37.047" v="101"/>
        <pc:sldMkLst>
          <pc:docMk/>
          <pc:sldMk cId="870464250" sldId="273"/>
        </pc:sldMkLst>
        <pc:spChg chg="del">
          <ac:chgData name="Sholderer, Olga" userId="e2c1dea8-b971-43c0-be57-c12a42680f03" providerId="ADAL" clId="{5F870856-1BC7-4255-97F2-1977FF71BAFA}" dt="2020-06-11T07:52:40.455" v="50" actId="478"/>
          <ac:spMkLst>
            <pc:docMk/>
            <pc:sldMk cId="870464250" sldId="273"/>
            <ac:spMk id="6" creationId="{0DF21E7F-BE16-46B3-8DF1-15D3F0B89048}"/>
          </ac:spMkLst>
        </pc:spChg>
        <pc:spChg chg="add">
          <ac:chgData name="Sholderer, Olga" userId="e2c1dea8-b971-43c0-be57-c12a42680f03" providerId="ADAL" clId="{5F870856-1BC7-4255-97F2-1977FF71BAFA}" dt="2020-06-11T08:08:37.047" v="101"/>
          <ac:spMkLst>
            <pc:docMk/>
            <pc:sldMk cId="870464250" sldId="273"/>
            <ac:spMk id="17" creationId="{3AB460A1-0C68-48C8-97BF-FF37067CAB40}"/>
          </ac:spMkLst>
        </pc:spChg>
      </pc:sldChg>
      <pc:sldChg chg="addSp delSp modSp">
        <pc:chgData name="Sholderer, Olga" userId="e2c1dea8-b971-43c0-be57-c12a42680f03" providerId="ADAL" clId="{5F870856-1BC7-4255-97F2-1977FF71BAFA}" dt="2020-06-11T08:08:34.654" v="99"/>
        <pc:sldMkLst>
          <pc:docMk/>
          <pc:sldMk cId="1839802446" sldId="274"/>
        </pc:sldMkLst>
        <pc:spChg chg="del mod">
          <ac:chgData name="Sholderer, Olga" userId="e2c1dea8-b971-43c0-be57-c12a42680f03" providerId="ADAL" clId="{5F870856-1BC7-4255-97F2-1977FF71BAFA}" dt="2020-06-11T07:52:33.924" v="48" actId="478"/>
          <ac:spMkLst>
            <pc:docMk/>
            <pc:sldMk cId="1839802446" sldId="274"/>
            <ac:spMk id="6" creationId="{ECD0C107-F1BB-44E0-8089-02F772BF257A}"/>
          </ac:spMkLst>
        </pc:spChg>
        <pc:spChg chg="add del">
          <ac:chgData name="Sholderer, Olga" userId="e2c1dea8-b971-43c0-be57-c12a42680f03" providerId="ADAL" clId="{5F870856-1BC7-4255-97F2-1977FF71BAFA}" dt="2020-06-11T07:52:21.864" v="44"/>
          <ac:spMkLst>
            <pc:docMk/>
            <pc:sldMk cId="1839802446" sldId="274"/>
            <ac:spMk id="20" creationId="{645D9DF3-DB5D-495E-B143-E6A560E9D228}"/>
          </ac:spMkLst>
        </pc:spChg>
        <pc:spChg chg="add del">
          <ac:chgData name="Sholderer, Olga" userId="e2c1dea8-b971-43c0-be57-c12a42680f03" providerId="ADAL" clId="{5F870856-1BC7-4255-97F2-1977FF71BAFA}" dt="2020-06-11T07:52:26.476" v="46" actId="478"/>
          <ac:spMkLst>
            <pc:docMk/>
            <pc:sldMk cId="1839802446" sldId="274"/>
            <ac:spMk id="21" creationId="{9FDBE930-075F-4F2C-88F0-714EBE92AE4D}"/>
          </ac:spMkLst>
        </pc:spChg>
        <pc:spChg chg="add">
          <ac:chgData name="Sholderer, Olga" userId="e2c1dea8-b971-43c0-be57-c12a42680f03" providerId="ADAL" clId="{5F870856-1BC7-4255-97F2-1977FF71BAFA}" dt="2020-06-11T08:08:34.654" v="99"/>
          <ac:spMkLst>
            <pc:docMk/>
            <pc:sldMk cId="1839802446" sldId="274"/>
            <ac:spMk id="22" creationId="{C29849E7-0FDF-4FD1-8E00-3EF43B16E6CA}"/>
          </ac:spMkLst>
        </pc:spChg>
      </pc:sldChg>
      <pc:sldChg chg="addSp delSp">
        <pc:chgData name="Sholderer, Olga" userId="e2c1dea8-b971-43c0-be57-c12a42680f03" providerId="ADAL" clId="{5F870856-1BC7-4255-97F2-1977FF71BAFA}" dt="2020-06-11T08:08:42.174" v="104"/>
        <pc:sldMkLst>
          <pc:docMk/>
          <pc:sldMk cId="2290077066" sldId="275"/>
        </pc:sldMkLst>
        <pc:spChg chg="del">
          <ac:chgData name="Sholderer, Olga" userId="e2c1dea8-b971-43c0-be57-c12a42680f03" providerId="ADAL" clId="{5F870856-1BC7-4255-97F2-1977FF71BAFA}" dt="2020-06-11T07:52:51.501" v="53" actId="478"/>
          <ac:spMkLst>
            <pc:docMk/>
            <pc:sldMk cId="2290077066" sldId="275"/>
            <ac:spMk id="8" creationId="{5C9D8669-2832-44C8-BA55-67DECCC3423F}"/>
          </ac:spMkLst>
        </pc:spChg>
        <pc:spChg chg="add">
          <ac:chgData name="Sholderer, Olga" userId="e2c1dea8-b971-43c0-be57-c12a42680f03" providerId="ADAL" clId="{5F870856-1BC7-4255-97F2-1977FF71BAFA}" dt="2020-06-11T08:08:42.174" v="104"/>
          <ac:spMkLst>
            <pc:docMk/>
            <pc:sldMk cId="2290077066" sldId="275"/>
            <ac:spMk id="23" creationId="{05BB9B6B-FBFF-4C2D-80B0-F37DF5516E0B}"/>
          </ac:spMkLst>
        </pc:spChg>
      </pc:sldChg>
      <pc:sldChg chg="addSp delSp modSp">
        <pc:chgData name="Sholderer, Olga" userId="e2c1dea8-b971-43c0-be57-c12a42680f03" providerId="ADAL" clId="{5F870856-1BC7-4255-97F2-1977FF71BAFA}" dt="2020-06-11T08:08:46.277" v="106"/>
        <pc:sldMkLst>
          <pc:docMk/>
          <pc:sldMk cId="2638342474" sldId="276"/>
        </pc:sldMkLst>
        <pc:spChg chg="mod">
          <ac:chgData name="Sholderer, Olga" userId="e2c1dea8-b971-43c0-be57-c12a42680f03" providerId="ADAL" clId="{5F870856-1BC7-4255-97F2-1977FF71BAFA}" dt="2020-06-11T07:47:38.357" v="27" actId="20577"/>
          <ac:spMkLst>
            <pc:docMk/>
            <pc:sldMk cId="2638342474" sldId="276"/>
            <ac:spMk id="3" creationId="{EE719EA8-1725-4E13-84C2-F065E45FB5F9}"/>
          </ac:spMkLst>
        </pc:spChg>
        <pc:spChg chg="del">
          <ac:chgData name="Sholderer, Olga" userId="e2c1dea8-b971-43c0-be57-c12a42680f03" providerId="ADAL" clId="{5F870856-1BC7-4255-97F2-1977FF71BAFA}" dt="2020-06-11T07:52:56.093" v="54" actId="478"/>
          <ac:spMkLst>
            <pc:docMk/>
            <pc:sldMk cId="2638342474" sldId="276"/>
            <ac:spMk id="6" creationId="{0B3E9750-8DD9-4416-888E-4B5409212574}"/>
          </ac:spMkLst>
        </pc:spChg>
        <pc:spChg chg="add del mod">
          <ac:chgData name="Sholderer, Olga" userId="e2c1dea8-b971-43c0-be57-c12a42680f03" providerId="ADAL" clId="{5F870856-1BC7-4255-97F2-1977FF71BAFA}" dt="2020-06-11T07:48:01.080" v="31" actId="478"/>
          <ac:spMkLst>
            <pc:docMk/>
            <pc:sldMk cId="2638342474" sldId="276"/>
            <ac:spMk id="7" creationId="{BBAEE964-5EFA-4C25-B5EF-DE43FCDA5D16}"/>
          </ac:spMkLst>
        </pc:spChg>
        <pc:spChg chg="add del mod">
          <ac:chgData name="Sholderer, Olga" userId="e2c1dea8-b971-43c0-be57-c12a42680f03" providerId="ADAL" clId="{5F870856-1BC7-4255-97F2-1977FF71BAFA}" dt="2020-06-11T07:47:25.856" v="23" actId="478"/>
          <ac:spMkLst>
            <pc:docMk/>
            <pc:sldMk cId="2638342474" sldId="276"/>
            <ac:spMk id="9" creationId="{7DF06378-40FD-4142-8233-E25A99367885}"/>
          </ac:spMkLst>
        </pc:spChg>
        <pc:spChg chg="del mod">
          <ac:chgData name="Sholderer, Olga" userId="e2c1dea8-b971-43c0-be57-c12a42680f03" providerId="ADAL" clId="{5F870856-1BC7-4255-97F2-1977FF71BAFA}" dt="2020-06-11T07:46:56.988" v="20" actId="478"/>
          <ac:spMkLst>
            <pc:docMk/>
            <pc:sldMk cId="2638342474" sldId="276"/>
            <ac:spMk id="12" creationId="{1C10B4B8-63D3-49C1-A68E-90EC2CFBE7BC}"/>
          </ac:spMkLst>
        </pc:spChg>
        <pc:spChg chg="del">
          <ac:chgData name="Sholderer, Olga" userId="e2c1dea8-b971-43c0-be57-c12a42680f03" providerId="ADAL" clId="{5F870856-1BC7-4255-97F2-1977FF71BAFA}" dt="2020-06-11T07:47:55.432" v="28" actId="478"/>
          <ac:spMkLst>
            <pc:docMk/>
            <pc:sldMk cId="2638342474" sldId="276"/>
            <ac:spMk id="13" creationId="{8D556173-3C10-4314-9F10-9197C798BBD5}"/>
          </ac:spMkLst>
        </pc:spChg>
        <pc:spChg chg="add">
          <ac:chgData name="Sholderer, Olga" userId="e2c1dea8-b971-43c0-be57-c12a42680f03" providerId="ADAL" clId="{5F870856-1BC7-4255-97F2-1977FF71BAFA}" dt="2020-06-11T08:08:46.277" v="106"/>
          <ac:spMkLst>
            <pc:docMk/>
            <pc:sldMk cId="2638342474" sldId="276"/>
            <ac:spMk id="15" creationId="{E4BB4D9A-A024-4E18-9769-471E1666AA3B}"/>
          </ac:spMkLst>
        </pc:spChg>
        <pc:picChg chg="add del mod">
          <ac:chgData name="Sholderer, Olga" userId="e2c1dea8-b971-43c0-be57-c12a42680f03" providerId="ADAL" clId="{5F870856-1BC7-4255-97F2-1977FF71BAFA}" dt="2020-06-11T07:46:40.207" v="16" actId="478"/>
          <ac:picMkLst>
            <pc:docMk/>
            <pc:sldMk cId="2638342474" sldId="276"/>
            <ac:picMk id="13316" creationId="{A7896EBA-3596-45BC-8F29-8D59058C29F9}"/>
          </ac:picMkLst>
        </pc:picChg>
        <pc:picChg chg="add mod">
          <ac:chgData name="Sholderer, Olga" userId="e2c1dea8-b971-43c0-be57-c12a42680f03" providerId="ADAL" clId="{5F870856-1BC7-4255-97F2-1977FF71BAFA}" dt="2020-06-11T07:47:00.952" v="21" actId="1076"/>
          <ac:picMkLst>
            <pc:docMk/>
            <pc:sldMk cId="2638342474" sldId="276"/>
            <ac:picMk id="13318" creationId="{F971FD1D-94DC-48BD-9724-5721D4CADC2D}"/>
          </ac:picMkLst>
        </pc:picChg>
        <pc:picChg chg="add mod">
          <ac:chgData name="Sholderer, Olga" userId="e2c1dea8-b971-43c0-be57-c12a42680f03" providerId="ADAL" clId="{5F870856-1BC7-4255-97F2-1977FF71BAFA}" dt="2020-06-11T07:47:36.240" v="26" actId="1076"/>
          <ac:picMkLst>
            <pc:docMk/>
            <pc:sldMk cId="2638342474" sldId="276"/>
            <ac:picMk id="13320" creationId="{AD9230D5-7CAD-4192-B82D-12FB7B96DA11}"/>
          </ac:picMkLst>
        </pc:picChg>
        <pc:picChg chg="add mod">
          <ac:chgData name="Sholderer, Olga" userId="e2c1dea8-b971-43c0-be57-c12a42680f03" providerId="ADAL" clId="{5F870856-1BC7-4255-97F2-1977FF71BAFA}" dt="2020-06-11T07:48:29.608" v="40" actId="1076"/>
          <ac:picMkLst>
            <pc:docMk/>
            <pc:sldMk cId="2638342474" sldId="276"/>
            <ac:picMk id="13324" creationId="{8DDF582A-82F7-4ABF-8475-589D8EEC1106}"/>
          </ac:picMkLst>
        </pc:picChg>
      </pc:sldChg>
    </pc:docChg>
  </pc:docChgLst>
  <pc:docChgLst>
    <pc:chgData name="Sholderer, Olga" userId="e2c1dea8-b971-43c0-be57-c12a42680f03" providerId="ADAL" clId="{CE1E9B20-4A24-48FC-AAF1-4A39366449BB}"/>
    <pc:docChg chg="undo custSel addSld delSld modSld modMainMaster delSection modSection">
      <pc:chgData name="Sholderer, Olga" userId="e2c1dea8-b971-43c0-be57-c12a42680f03" providerId="ADAL" clId="{CE1E9B20-4A24-48FC-AAF1-4A39366449BB}" dt="2020-06-10T06:47:55.815" v="3205" actId="478"/>
      <pc:docMkLst>
        <pc:docMk/>
      </pc:docMkLst>
      <pc:sldChg chg="addSp delSp modSp">
        <pc:chgData name="Sholderer, Olga" userId="e2c1dea8-b971-43c0-be57-c12a42680f03" providerId="ADAL" clId="{CE1E9B20-4A24-48FC-AAF1-4A39366449BB}" dt="2020-06-10T06:47:55.815" v="3205" actId="478"/>
        <pc:sldMkLst>
          <pc:docMk/>
          <pc:sldMk cId="2738373320" sldId="256"/>
        </pc:sldMkLst>
        <pc:spChg chg="mod ord">
          <ac:chgData name="Sholderer, Olga" userId="e2c1dea8-b971-43c0-be57-c12a42680f03" providerId="ADAL" clId="{CE1E9B20-4A24-48FC-AAF1-4A39366449BB}" dt="2020-05-30T08:41:19.715" v="920" actId="14100"/>
          <ac:spMkLst>
            <pc:docMk/>
            <pc:sldMk cId="2738373320" sldId="256"/>
            <ac:spMk id="2" creationId="{D5C08A18-F567-4A60-B748-92774CD46869}"/>
          </ac:spMkLst>
        </pc:spChg>
        <pc:spChg chg="mod ord">
          <ac:chgData name="Sholderer, Olga" userId="e2c1dea8-b971-43c0-be57-c12a42680f03" providerId="ADAL" clId="{CE1E9B20-4A24-48FC-AAF1-4A39366449BB}" dt="2020-05-30T08:43:20.261" v="961" actId="113"/>
          <ac:spMkLst>
            <pc:docMk/>
            <pc:sldMk cId="2738373320" sldId="256"/>
            <ac:spMk id="3" creationId="{CDCAD408-C6E8-4DD3-A2A2-75470BE9B55D}"/>
          </ac:spMkLst>
        </pc:spChg>
        <pc:spChg chg="add mod ord modVis">
          <ac:chgData name="Sholderer, Olga" userId="e2c1dea8-b971-43c0-be57-c12a42680f03" providerId="ADAL" clId="{CE1E9B20-4A24-48FC-AAF1-4A39366449BB}" dt="2020-05-30T08:40:26.835" v="836" actId="6549"/>
          <ac:spMkLst>
            <pc:docMk/>
            <pc:sldMk cId="2738373320" sldId="256"/>
            <ac:spMk id="4" creationId="{043BE5D8-A03A-4179-A801-031227551785}"/>
          </ac:spMkLst>
        </pc:spChg>
        <pc:spChg chg="add del">
          <ac:chgData name="Sholderer, Olga" userId="e2c1dea8-b971-43c0-be57-c12a42680f03" providerId="ADAL" clId="{CE1E9B20-4A24-48FC-AAF1-4A39366449BB}" dt="2020-06-10T06:47:55.815" v="3205" actId="478"/>
          <ac:spMkLst>
            <pc:docMk/>
            <pc:sldMk cId="2738373320" sldId="256"/>
            <ac:spMk id="6" creationId="{9BFF810A-F533-4FEE-A5C7-4616DD601E3F}"/>
          </ac:spMkLst>
        </pc:spChg>
        <pc:graphicFrameChg chg="mod ord">
          <ac:chgData name="Sholderer, Olga" userId="e2c1dea8-b971-43c0-be57-c12a42680f03" providerId="ADAL" clId="{CE1E9B20-4A24-48FC-AAF1-4A39366449BB}" dt="2020-05-30T08:41:20.222" v="922"/>
          <ac:graphicFrameMkLst>
            <pc:docMk/>
            <pc:sldMk cId="2738373320" sldId="256"/>
            <ac:graphicFrameMk id="5" creationId="{D58A8C39-42CF-4BDA-857D-7E45816C79EC}"/>
          </ac:graphicFrameMkLst>
        </pc:graphicFrameChg>
      </pc:sldChg>
      <pc:sldChg chg="del">
        <pc:chgData name="Sholderer, Olga" userId="e2c1dea8-b971-43c0-be57-c12a42680f03" providerId="ADAL" clId="{CE1E9B20-4A24-48FC-AAF1-4A39366449BB}" dt="2020-06-07T11:04:25.051" v="1396" actId="2696"/>
        <pc:sldMkLst>
          <pc:docMk/>
          <pc:sldMk cId="205062588" sldId="257"/>
        </pc:sldMkLst>
      </pc:sldChg>
      <pc:sldChg chg="del">
        <pc:chgData name="Sholderer, Olga" userId="e2c1dea8-b971-43c0-be57-c12a42680f03" providerId="ADAL" clId="{CE1E9B20-4A24-48FC-AAF1-4A39366449BB}" dt="2020-05-24T13:05:51.946" v="771" actId="2696"/>
        <pc:sldMkLst>
          <pc:docMk/>
          <pc:sldMk cId="1269839335" sldId="257"/>
        </pc:sldMkLst>
      </pc:sldChg>
      <pc:sldChg chg="del">
        <pc:chgData name="Sholderer, Olga" userId="e2c1dea8-b971-43c0-be57-c12a42680f03" providerId="ADAL" clId="{CE1E9B20-4A24-48FC-AAF1-4A39366449BB}" dt="2020-05-24T13:05:54.535" v="772" actId="2696"/>
        <pc:sldMkLst>
          <pc:docMk/>
          <pc:sldMk cId="288653515" sldId="258"/>
        </pc:sldMkLst>
      </pc:sldChg>
      <pc:sldChg chg="addSp delSp modSp">
        <pc:chgData name="Sholderer, Olga" userId="e2c1dea8-b971-43c0-be57-c12a42680f03" providerId="ADAL" clId="{CE1E9B20-4A24-48FC-AAF1-4A39366449BB}" dt="2020-06-07T11:41:30.085" v="2835"/>
        <pc:sldMkLst>
          <pc:docMk/>
          <pc:sldMk cId="1140384275" sldId="259"/>
        </pc:sldMkLst>
        <pc:spChg chg="mod">
          <ac:chgData name="Sholderer, Olga" userId="e2c1dea8-b971-43c0-be57-c12a42680f03" providerId="ADAL" clId="{CE1E9B20-4A24-48FC-AAF1-4A39366449BB}" dt="2020-06-07T11:41:29.552" v="2822" actId="255"/>
          <ac:spMkLst>
            <pc:docMk/>
            <pc:sldMk cId="1140384275" sldId="259"/>
            <ac:spMk id="2" creationId="{35CC34CE-7C88-4AAE-9E1A-D9E939BFF774}"/>
          </ac:spMkLst>
        </pc:spChg>
        <pc:spChg chg="del">
          <ac:chgData name="Sholderer, Olga" userId="e2c1dea8-b971-43c0-be57-c12a42680f03" providerId="ADAL" clId="{CE1E9B20-4A24-48FC-AAF1-4A39366449BB}" dt="2020-05-30T08:59:26.783" v="1214"/>
          <ac:spMkLst>
            <pc:docMk/>
            <pc:sldMk cId="1140384275" sldId="259"/>
            <ac:spMk id="3" creationId="{2F314D61-5B57-4801-B9B8-5F4797795C7B}"/>
          </ac:spMkLst>
        </pc:spChg>
        <pc:spChg chg="mod">
          <ac:chgData name="Sholderer, Olga" userId="e2c1dea8-b971-43c0-be57-c12a42680f03" providerId="ADAL" clId="{CE1E9B20-4A24-48FC-AAF1-4A39366449BB}" dt="2020-06-07T11:41:30.077" v="2833" actId="6549"/>
          <ac:spMkLst>
            <pc:docMk/>
            <pc:sldMk cId="1140384275" sldId="259"/>
            <ac:spMk id="4" creationId="{D2B79477-D497-4AD4-A885-EA537C2DE326}"/>
          </ac:spMkLst>
        </pc:spChg>
        <pc:spChg chg="add">
          <ac:chgData name="Sholderer, Olga" userId="e2c1dea8-b971-43c0-be57-c12a42680f03" providerId="ADAL" clId="{CE1E9B20-4A24-48FC-AAF1-4A39366449BB}" dt="2020-05-30T09:04:46.182" v="1299"/>
          <ac:spMkLst>
            <pc:docMk/>
            <pc:sldMk cId="1140384275" sldId="259"/>
            <ac:spMk id="8" creationId="{5C9D8669-2832-44C8-BA55-67DECCC3423F}"/>
          </ac:spMkLst>
        </pc:spChg>
        <pc:grpChg chg="add">
          <ac:chgData name="Sholderer, Olga" userId="e2c1dea8-b971-43c0-be57-c12a42680f03" providerId="ADAL" clId="{CE1E9B20-4A24-48FC-AAF1-4A39366449BB}" dt="2020-06-07T11:10:48.472" v="1465"/>
          <ac:grpSpMkLst>
            <pc:docMk/>
            <pc:sldMk cId="1140384275" sldId="259"/>
            <ac:grpSpMk id="9" creationId="{8808A1AF-77DE-447A-95E6-607ADC192B87}"/>
          </ac:grpSpMkLst>
        </pc:grpChg>
        <pc:graphicFrameChg chg="mod">
          <ac:chgData name="Sholderer, Olga" userId="e2c1dea8-b971-43c0-be57-c12a42680f03" providerId="ADAL" clId="{CE1E9B20-4A24-48FC-AAF1-4A39366449BB}" dt="2020-06-07T11:41:30.085" v="2835"/>
          <ac:graphicFrameMkLst>
            <pc:docMk/>
            <pc:sldMk cId="1140384275" sldId="259"/>
            <ac:graphicFrameMk id="5" creationId="{5ACABAAC-7BE0-4329-B478-60137B939D69}"/>
          </ac:graphicFrameMkLst>
        </pc:graphicFrameChg>
        <pc:picChg chg="add mod">
          <ac:chgData name="Sholderer, Olga" userId="e2c1dea8-b971-43c0-be57-c12a42680f03" providerId="ADAL" clId="{CE1E9B20-4A24-48FC-AAF1-4A39366449BB}" dt="2020-05-30T08:59:44.149" v="1241" actId="1076"/>
          <ac:picMkLst>
            <pc:docMk/>
            <pc:sldMk cId="1140384275" sldId="259"/>
            <ac:picMk id="6" creationId="{01363B8E-022B-4C54-A1B1-EDAD6EE323BE}"/>
          </ac:picMkLst>
        </pc:picChg>
        <pc:picChg chg="add mod">
          <ac:chgData name="Sholderer, Olga" userId="e2c1dea8-b971-43c0-be57-c12a42680f03" providerId="ADAL" clId="{CE1E9B20-4A24-48FC-AAF1-4A39366449BB}" dt="2020-05-30T09:00:28.428" v="1244" actId="208"/>
          <ac:picMkLst>
            <pc:docMk/>
            <pc:sldMk cId="1140384275" sldId="259"/>
            <ac:picMk id="7" creationId="{0633026F-60AA-4919-869D-561D9BB09E04}"/>
          </ac:picMkLst>
        </pc:picChg>
      </pc:sldChg>
      <pc:sldChg chg="del">
        <pc:chgData name="Sholderer, Olga" userId="e2c1dea8-b971-43c0-be57-c12a42680f03" providerId="ADAL" clId="{CE1E9B20-4A24-48FC-AAF1-4A39366449BB}" dt="2020-05-30T08:50:31.095" v="1145" actId="2696"/>
        <pc:sldMkLst>
          <pc:docMk/>
          <pc:sldMk cId="1893604164" sldId="260"/>
        </pc:sldMkLst>
      </pc:sldChg>
      <pc:sldChg chg="addSp delSp modSp">
        <pc:chgData name="Sholderer, Olga" userId="e2c1dea8-b971-43c0-be57-c12a42680f03" providerId="ADAL" clId="{CE1E9B20-4A24-48FC-AAF1-4A39366449BB}" dt="2020-06-07T11:21:11.683" v="2200" actId="1076"/>
        <pc:sldMkLst>
          <pc:docMk/>
          <pc:sldMk cId="200817552" sldId="261"/>
        </pc:sldMkLst>
        <pc:spChg chg="mod">
          <ac:chgData name="Sholderer, Olga" userId="e2c1dea8-b971-43c0-be57-c12a42680f03" providerId="ADAL" clId="{CE1E9B20-4A24-48FC-AAF1-4A39366449BB}" dt="2020-06-07T11:12:23.735" v="1496" actId="255"/>
          <ac:spMkLst>
            <pc:docMk/>
            <pc:sldMk cId="200817552" sldId="261"/>
            <ac:spMk id="2" creationId="{F164262A-6300-46D1-90CA-149F53672257}"/>
          </ac:spMkLst>
        </pc:spChg>
        <pc:spChg chg="mod">
          <ac:chgData name="Sholderer, Olga" userId="e2c1dea8-b971-43c0-be57-c12a42680f03" providerId="ADAL" clId="{CE1E9B20-4A24-48FC-AAF1-4A39366449BB}" dt="2020-06-07T11:04:15.636" v="1394" actId="20577"/>
          <ac:spMkLst>
            <pc:docMk/>
            <pc:sldMk cId="200817552" sldId="261"/>
            <ac:spMk id="3" creationId="{FB4468E1-AEF9-47E9-B985-B00A2611F922}"/>
          </ac:spMkLst>
        </pc:spChg>
        <pc:spChg chg="add del">
          <ac:chgData name="Sholderer, Olga" userId="e2c1dea8-b971-43c0-be57-c12a42680f03" providerId="ADAL" clId="{CE1E9B20-4A24-48FC-AAF1-4A39366449BB}" dt="2020-05-30T09:04:27.531" v="1291"/>
          <ac:spMkLst>
            <pc:docMk/>
            <pc:sldMk cId="200817552" sldId="261"/>
            <ac:spMk id="5" creationId="{069B2F0C-0ACB-44C9-B484-7B1FFC134BCD}"/>
          </ac:spMkLst>
        </pc:spChg>
        <pc:spChg chg="add mod">
          <ac:chgData name="Sholderer, Olga" userId="e2c1dea8-b971-43c0-be57-c12a42680f03" providerId="ADAL" clId="{CE1E9B20-4A24-48FC-AAF1-4A39366449BB}" dt="2020-06-07T11:21:11.683" v="2200" actId="1076"/>
          <ac:spMkLst>
            <pc:docMk/>
            <pc:sldMk cId="200817552" sldId="261"/>
            <ac:spMk id="7" creationId="{EACDC8F7-04E0-4FCB-BF48-4908544EA5A5}"/>
          </ac:spMkLst>
        </pc:spChg>
        <pc:spChg chg="add mod">
          <ac:chgData name="Sholderer, Olga" userId="e2c1dea8-b971-43c0-be57-c12a42680f03" providerId="ADAL" clId="{CE1E9B20-4A24-48FC-AAF1-4A39366449BB}" dt="2020-06-07T11:21:11.683" v="2200" actId="1076"/>
          <ac:spMkLst>
            <pc:docMk/>
            <pc:sldMk cId="200817552" sldId="261"/>
            <ac:spMk id="8" creationId="{4102E34F-5C00-4324-A7F7-0B17CAE45995}"/>
          </ac:spMkLst>
        </pc:spChg>
        <pc:spChg chg="add mod">
          <ac:chgData name="Sholderer, Olga" userId="e2c1dea8-b971-43c0-be57-c12a42680f03" providerId="ADAL" clId="{CE1E9B20-4A24-48FC-AAF1-4A39366449BB}" dt="2020-06-07T11:21:11.683" v="2200" actId="1076"/>
          <ac:spMkLst>
            <pc:docMk/>
            <pc:sldMk cId="200817552" sldId="261"/>
            <ac:spMk id="9" creationId="{1DF909B2-89F2-4A03-85DF-49D741A15C51}"/>
          </ac:spMkLst>
        </pc:spChg>
        <pc:grpChg chg="add mod">
          <ac:chgData name="Sholderer, Olga" userId="e2c1dea8-b971-43c0-be57-c12a42680f03" providerId="ADAL" clId="{CE1E9B20-4A24-48FC-AAF1-4A39366449BB}" dt="2020-06-07T11:21:11.683" v="2200" actId="1076"/>
          <ac:grpSpMkLst>
            <pc:docMk/>
            <pc:sldMk cId="200817552" sldId="261"/>
            <ac:grpSpMk id="10" creationId="{6605ED05-D57A-4BDF-856B-13EE8F703B98}"/>
          </ac:grpSpMkLst>
        </pc:grpChg>
        <pc:graphicFrameChg chg="mod">
          <ac:chgData name="Sholderer, Olga" userId="e2c1dea8-b971-43c0-be57-c12a42680f03" providerId="ADAL" clId="{CE1E9B20-4A24-48FC-AAF1-4A39366449BB}" dt="2020-06-07T11:12:23.995" v="1498"/>
          <ac:graphicFrameMkLst>
            <pc:docMk/>
            <pc:sldMk cId="200817552" sldId="261"/>
            <ac:graphicFrameMk id="4" creationId="{C4BFF765-0A8B-4F8D-A00A-A42E351CE389}"/>
          </ac:graphicFrameMkLst>
        </pc:graphicFrameChg>
        <pc:cxnChg chg="add mod">
          <ac:chgData name="Sholderer, Olga" userId="e2c1dea8-b971-43c0-be57-c12a42680f03" providerId="ADAL" clId="{CE1E9B20-4A24-48FC-AAF1-4A39366449BB}" dt="2020-06-07T11:04:12.488" v="1392" actId="1076"/>
          <ac:cxnSpMkLst>
            <pc:docMk/>
            <pc:sldMk cId="200817552" sldId="261"/>
            <ac:cxnSpMk id="6" creationId="{919A1E8C-A3C2-461B-BC1A-3BF3732E7C56}"/>
          </ac:cxnSpMkLst>
        </pc:cxnChg>
      </pc:sldChg>
      <pc:sldChg chg="addSp delSp modSp">
        <pc:chgData name="Sholderer, Olga" userId="e2c1dea8-b971-43c0-be57-c12a42680f03" providerId="ADAL" clId="{CE1E9B20-4A24-48FC-AAF1-4A39366449BB}" dt="2020-06-10T06:46:50.844" v="3151"/>
        <pc:sldMkLst>
          <pc:docMk/>
          <pc:sldMk cId="64895533" sldId="265"/>
        </pc:sldMkLst>
        <pc:spChg chg="mod ord">
          <ac:chgData name="Sholderer, Olga" userId="e2c1dea8-b971-43c0-be57-c12a42680f03" providerId="ADAL" clId="{CE1E9B20-4A24-48FC-AAF1-4A39366449BB}" dt="2020-06-07T11:23:50.277" v="2338" actId="1076"/>
          <ac:spMkLst>
            <pc:docMk/>
            <pc:sldMk cId="64895533" sldId="265"/>
            <ac:spMk id="2" creationId="{E89882EB-0E06-4F36-A177-3BDC83230037}"/>
          </ac:spMkLst>
        </pc:spChg>
        <pc:spChg chg="del mod">
          <ac:chgData name="Sholderer, Olga" userId="e2c1dea8-b971-43c0-be57-c12a42680f03" providerId="ADAL" clId="{CE1E9B20-4A24-48FC-AAF1-4A39366449BB}" dt="2020-06-07T11:15:23.233" v="1651" actId="478"/>
          <ac:spMkLst>
            <pc:docMk/>
            <pc:sldMk cId="64895533" sldId="265"/>
            <ac:spMk id="3" creationId="{F4FC89EB-883D-447C-AAD9-6981BD5B5E19}"/>
          </ac:spMkLst>
        </pc:spChg>
        <pc:spChg chg="mod ord">
          <ac:chgData name="Sholderer, Olga" userId="e2c1dea8-b971-43c0-be57-c12a42680f03" providerId="ADAL" clId="{CE1E9B20-4A24-48FC-AAF1-4A39366449BB}" dt="2020-06-07T11:20:24.941" v="2193"/>
          <ac:spMkLst>
            <pc:docMk/>
            <pc:sldMk cId="64895533" sldId="265"/>
            <ac:spMk id="4" creationId="{16A0D70B-59B5-4B03-9CF7-EED5E3FCB2C8}"/>
          </ac:spMkLst>
        </pc:spChg>
        <pc:spChg chg="add del mod">
          <ac:chgData name="Sholderer, Olga" userId="e2c1dea8-b971-43c0-be57-c12a42680f03" providerId="ADAL" clId="{CE1E9B20-4A24-48FC-AAF1-4A39366449BB}" dt="2020-05-30T09:03:16.888" v="1253" actId="478"/>
          <ac:spMkLst>
            <pc:docMk/>
            <pc:sldMk cId="64895533" sldId="265"/>
            <ac:spMk id="6" creationId="{9637B1E7-4CD6-4CAB-A974-7C0A453619A1}"/>
          </ac:spMkLst>
        </pc:spChg>
        <pc:spChg chg="add mod ord">
          <ac:chgData name="Sholderer, Olga" userId="e2c1dea8-b971-43c0-be57-c12a42680f03" providerId="ADAL" clId="{CE1E9B20-4A24-48FC-AAF1-4A39366449BB}" dt="2020-06-07T11:20:24.941" v="2193"/>
          <ac:spMkLst>
            <pc:docMk/>
            <pc:sldMk cId="64895533" sldId="265"/>
            <ac:spMk id="7" creationId="{C6EAE807-CC05-440C-93C0-DDE3F87C3E61}"/>
          </ac:spMkLst>
        </pc:spChg>
        <pc:spChg chg="mod">
          <ac:chgData name="Sholderer, Olga" userId="e2c1dea8-b971-43c0-be57-c12a42680f03" providerId="ADAL" clId="{CE1E9B20-4A24-48FC-AAF1-4A39366449BB}" dt="2020-06-07T11:06:10.765" v="1440" actId="2711"/>
          <ac:spMkLst>
            <pc:docMk/>
            <pc:sldMk cId="64895533" sldId="265"/>
            <ac:spMk id="9" creationId="{F9D53C28-F011-4DD0-BC51-51CC0522DB5A}"/>
          </ac:spMkLst>
        </pc:spChg>
        <pc:spChg chg="mod">
          <ac:chgData name="Sholderer, Olga" userId="e2c1dea8-b971-43c0-be57-c12a42680f03" providerId="ADAL" clId="{CE1E9B20-4A24-48FC-AAF1-4A39366449BB}" dt="2020-06-07T11:06:10.765" v="1440" actId="2711"/>
          <ac:spMkLst>
            <pc:docMk/>
            <pc:sldMk cId="64895533" sldId="265"/>
            <ac:spMk id="10" creationId="{B45877E8-2D45-4131-A3C5-DDDACCE289DD}"/>
          </ac:spMkLst>
        </pc:spChg>
        <pc:spChg chg="mod">
          <ac:chgData name="Sholderer, Olga" userId="e2c1dea8-b971-43c0-be57-c12a42680f03" providerId="ADAL" clId="{CE1E9B20-4A24-48FC-AAF1-4A39366449BB}" dt="2020-06-07T11:06:10.765" v="1440" actId="2711"/>
          <ac:spMkLst>
            <pc:docMk/>
            <pc:sldMk cId="64895533" sldId="265"/>
            <ac:spMk id="11" creationId="{FF8628C7-5810-4811-8F5F-7F5DAB68A819}"/>
          </ac:spMkLst>
        </pc:spChg>
        <pc:spChg chg="mod">
          <ac:chgData name="Sholderer, Olga" userId="e2c1dea8-b971-43c0-be57-c12a42680f03" providerId="ADAL" clId="{CE1E9B20-4A24-48FC-AAF1-4A39366449BB}" dt="2020-06-07T11:06:10.765" v="1440" actId="2711"/>
          <ac:spMkLst>
            <pc:docMk/>
            <pc:sldMk cId="64895533" sldId="265"/>
            <ac:spMk id="12" creationId="{B0DF6E92-1407-48B4-92A0-01065BAFC8C0}"/>
          </ac:spMkLst>
        </pc:spChg>
        <pc:spChg chg="mod">
          <ac:chgData name="Sholderer, Olga" userId="e2c1dea8-b971-43c0-be57-c12a42680f03" providerId="ADAL" clId="{CE1E9B20-4A24-48FC-AAF1-4A39366449BB}" dt="2020-06-10T06:44:48.034" v="3135" actId="20577"/>
          <ac:spMkLst>
            <pc:docMk/>
            <pc:sldMk cId="64895533" sldId="265"/>
            <ac:spMk id="17" creationId="{9C204B9F-2FF9-49C5-8B0E-2051A116AFF3}"/>
          </ac:spMkLst>
        </pc:spChg>
        <pc:spChg chg="mod">
          <ac:chgData name="Sholderer, Olga" userId="e2c1dea8-b971-43c0-be57-c12a42680f03" providerId="ADAL" clId="{CE1E9B20-4A24-48FC-AAF1-4A39366449BB}" dt="2020-06-07T11:20:26.412" v="2198" actId="1076"/>
          <ac:spMkLst>
            <pc:docMk/>
            <pc:sldMk cId="64895533" sldId="265"/>
            <ac:spMk id="18" creationId="{8271A402-866E-4BF9-925F-282E1BE8CE0D}"/>
          </ac:spMkLst>
        </pc:spChg>
        <pc:spChg chg="mod">
          <ac:chgData name="Sholderer, Olga" userId="e2c1dea8-b971-43c0-be57-c12a42680f03" providerId="ADAL" clId="{CE1E9B20-4A24-48FC-AAF1-4A39366449BB}" dt="2020-06-07T11:20:24.407" v="2183" actId="1076"/>
          <ac:spMkLst>
            <pc:docMk/>
            <pc:sldMk cId="64895533" sldId="265"/>
            <ac:spMk id="19" creationId="{DF8C7666-47C0-4FC2-A6D9-5CC356127D06}"/>
          </ac:spMkLst>
        </pc:spChg>
        <pc:spChg chg="mod">
          <ac:chgData name="Sholderer, Olga" userId="e2c1dea8-b971-43c0-be57-c12a42680f03" providerId="ADAL" clId="{CE1E9B20-4A24-48FC-AAF1-4A39366449BB}" dt="2020-06-07T11:20:25.779" v="2197" actId="1076"/>
          <ac:spMkLst>
            <pc:docMk/>
            <pc:sldMk cId="64895533" sldId="265"/>
            <ac:spMk id="20" creationId="{BBBAA643-22A7-4CFF-B1B1-03E9FCACD4C0}"/>
          </ac:spMkLst>
        </pc:spChg>
        <pc:spChg chg="mod">
          <ac:chgData name="Sholderer, Olga" userId="e2c1dea8-b971-43c0-be57-c12a42680f03" providerId="ADAL" clId="{CE1E9B20-4A24-48FC-AAF1-4A39366449BB}" dt="2020-06-07T11:14:51.579" v="1633" actId="1076"/>
          <ac:spMkLst>
            <pc:docMk/>
            <pc:sldMk cId="64895533" sldId="265"/>
            <ac:spMk id="21" creationId="{A1483DC6-264F-45D0-A22E-DB57AD172D67}"/>
          </ac:spMkLst>
        </pc:spChg>
        <pc:spChg chg="mod">
          <ac:chgData name="Sholderer, Olga" userId="e2c1dea8-b971-43c0-be57-c12a42680f03" providerId="ADAL" clId="{CE1E9B20-4A24-48FC-AAF1-4A39366449BB}" dt="2020-06-07T11:22:52.979" v="2334" actId="255"/>
          <ac:spMkLst>
            <pc:docMk/>
            <pc:sldMk cId="64895533" sldId="265"/>
            <ac:spMk id="23" creationId="{8417A232-FC9B-4739-8E5A-7DE08DD97C2F}"/>
          </ac:spMkLst>
        </pc:spChg>
        <pc:spChg chg="add del mod">
          <ac:chgData name="Sholderer, Olga" userId="e2c1dea8-b971-43c0-be57-c12a42680f03" providerId="ADAL" clId="{CE1E9B20-4A24-48FC-AAF1-4A39366449BB}" dt="2020-06-07T11:15:26.417" v="1652" actId="478"/>
          <ac:spMkLst>
            <pc:docMk/>
            <pc:sldMk cId="64895533" sldId="265"/>
            <ac:spMk id="26" creationId="{2B495C6A-CD40-4164-8C42-5078F7789CAD}"/>
          </ac:spMkLst>
        </pc:spChg>
        <pc:spChg chg="add mod ord">
          <ac:chgData name="Sholderer, Olga" userId="e2c1dea8-b971-43c0-be57-c12a42680f03" providerId="ADAL" clId="{CE1E9B20-4A24-48FC-AAF1-4A39366449BB}" dt="2020-06-10T06:44:52.236" v="3136"/>
          <ac:spMkLst>
            <pc:docMk/>
            <pc:sldMk cId="64895533" sldId="265"/>
            <ac:spMk id="27" creationId="{BB7455DD-4ADB-49B6-906E-2E1613D3DE8A}"/>
          </ac:spMkLst>
        </pc:spChg>
        <pc:spChg chg="add mod ord">
          <ac:chgData name="Sholderer, Olga" userId="e2c1dea8-b971-43c0-be57-c12a42680f03" providerId="ADAL" clId="{CE1E9B20-4A24-48FC-AAF1-4A39366449BB}" dt="2020-06-10T06:46:50.844" v="3151"/>
          <ac:spMkLst>
            <pc:docMk/>
            <pc:sldMk cId="64895533" sldId="265"/>
            <ac:spMk id="28" creationId="{A95189B3-921B-47E7-B076-05224F17F586}"/>
          </ac:spMkLst>
        </pc:spChg>
        <pc:grpChg chg="add mod ord">
          <ac:chgData name="Sholderer, Olga" userId="e2c1dea8-b971-43c0-be57-c12a42680f03" providerId="ADAL" clId="{CE1E9B20-4A24-48FC-AAF1-4A39366449BB}" dt="2020-06-07T11:20:24.941" v="2193"/>
          <ac:grpSpMkLst>
            <pc:docMk/>
            <pc:sldMk cId="64895533" sldId="265"/>
            <ac:grpSpMk id="8" creationId="{FCA2A26C-51AE-4751-9AAC-D9F8AADD0419}"/>
          </ac:grpSpMkLst>
        </pc:grpChg>
        <pc:grpChg chg="add mod ord">
          <ac:chgData name="Sholderer, Olga" userId="e2c1dea8-b971-43c0-be57-c12a42680f03" providerId="ADAL" clId="{CE1E9B20-4A24-48FC-AAF1-4A39366449BB}" dt="2020-06-07T11:23:54.059" v="2341" actId="1076"/>
          <ac:grpSpMkLst>
            <pc:docMk/>
            <pc:sldMk cId="64895533" sldId="265"/>
            <ac:grpSpMk id="13" creationId="{ACBFC8F8-D9C6-4885-A2F0-8674EB459362}"/>
          </ac:grpSpMkLst>
        </pc:grpChg>
        <pc:graphicFrameChg chg="mod ord">
          <ac:chgData name="Sholderer, Olga" userId="e2c1dea8-b971-43c0-be57-c12a42680f03" providerId="ADAL" clId="{CE1E9B20-4A24-48FC-AAF1-4A39366449BB}" dt="2020-06-07T11:23:50.806" v="2340"/>
          <ac:graphicFrameMkLst>
            <pc:docMk/>
            <pc:sldMk cId="64895533" sldId="265"/>
            <ac:graphicFrameMk id="5" creationId="{2B34E893-76BE-487F-B6AD-12161707E923}"/>
          </ac:graphicFrameMkLst>
        </pc:graphicFrameChg>
      </pc:sldChg>
      <pc:sldChg chg="addSp delSp modSp modTransition">
        <pc:chgData name="Sholderer, Olga" userId="e2c1dea8-b971-43c0-be57-c12a42680f03" providerId="ADAL" clId="{CE1E9B20-4A24-48FC-AAF1-4A39366449BB}" dt="2020-06-10T06:44:32.279" v="3108"/>
        <pc:sldMkLst>
          <pc:docMk/>
          <pc:sldMk cId="3826877475" sldId="266"/>
        </pc:sldMkLst>
        <pc:spChg chg="mod">
          <ac:chgData name="Sholderer, Olga" userId="e2c1dea8-b971-43c0-be57-c12a42680f03" providerId="ADAL" clId="{CE1E9B20-4A24-48FC-AAF1-4A39366449BB}" dt="2020-06-07T11:22:29.975" v="2329" actId="1076"/>
          <ac:spMkLst>
            <pc:docMk/>
            <pc:sldMk cId="3826877475" sldId="266"/>
            <ac:spMk id="2" creationId="{85F7489E-854B-49AB-8D64-3ABB9F366F42}"/>
          </ac:spMkLst>
        </pc:spChg>
        <pc:spChg chg="mod">
          <ac:chgData name="Sholderer, Olga" userId="e2c1dea8-b971-43c0-be57-c12a42680f03" providerId="ADAL" clId="{CE1E9B20-4A24-48FC-AAF1-4A39366449BB}" dt="2020-06-07T11:22:26.256" v="2328" actId="1076"/>
          <ac:spMkLst>
            <pc:docMk/>
            <pc:sldMk cId="3826877475" sldId="266"/>
            <ac:spMk id="3" creationId="{46D50455-A447-46A8-A65E-16072F61AF5C}"/>
          </ac:spMkLst>
        </pc:spChg>
        <pc:spChg chg="mod">
          <ac:chgData name="Sholderer, Olga" userId="e2c1dea8-b971-43c0-be57-c12a42680f03" providerId="ADAL" clId="{CE1E9B20-4A24-48FC-AAF1-4A39366449BB}" dt="2020-06-07T11:21:59.228" v="2317" actId="6549"/>
          <ac:spMkLst>
            <pc:docMk/>
            <pc:sldMk cId="3826877475" sldId="266"/>
            <ac:spMk id="4" creationId="{14FE47D2-3F94-47E3-A162-DAC3C91295FB}"/>
          </ac:spMkLst>
        </pc:spChg>
        <pc:spChg chg="add del">
          <ac:chgData name="Sholderer, Olga" userId="e2c1dea8-b971-43c0-be57-c12a42680f03" providerId="ADAL" clId="{CE1E9B20-4A24-48FC-AAF1-4A39366449BB}" dt="2020-05-24T12:49:29.082" v="405"/>
          <ac:spMkLst>
            <pc:docMk/>
            <pc:sldMk cId="3826877475" sldId="266"/>
            <ac:spMk id="6" creationId="{D83BC5A4-CA4D-4ED1-8D6D-A2D99161E866}"/>
          </ac:spMkLst>
        </pc:spChg>
        <pc:spChg chg="add">
          <ac:chgData name="Sholderer, Olga" userId="e2c1dea8-b971-43c0-be57-c12a42680f03" providerId="ADAL" clId="{CE1E9B20-4A24-48FC-AAF1-4A39366449BB}" dt="2020-05-30T09:04:34.435" v="1295"/>
          <ac:spMkLst>
            <pc:docMk/>
            <pc:sldMk cId="3826877475" sldId="266"/>
            <ac:spMk id="6" creationId="{ECD0C107-F1BB-44E0-8089-02F772BF257A}"/>
          </ac:spMkLst>
        </pc:spChg>
        <pc:spChg chg="add del">
          <ac:chgData name="Sholderer, Olga" userId="e2c1dea8-b971-43c0-be57-c12a42680f03" providerId="ADAL" clId="{CE1E9B20-4A24-48FC-AAF1-4A39366449BB}" dt="2020-05-24T12:49:28.659" v="404"/>
          <ac:spMkLst>
            <pc:docMk/>
            <pc:sldMk cId="3826877475" sldId="266"/>
            <ac:spMk id="7" creationId="{5BCFDFAF-E396-4AA2-AF81-A52A3C60C0A6}"/>
          </ac:spMkLst>
        </pc:spChg>
        <pc:spChg chg="mod">
          <ac:chgData name="Sholderer, Olga" userId="e2c1dea8-b971-43c0-be57-c12a42680f03" providerId="ADAL" clId="{CE1E9B20-4A24-48FC-AAF1-4A39366449BB}" dt="2020-06-07T11:09:38.476" v="1452" actId="207"/>
          <ac:spMkLst>
            <pc:docMk/>
            <pc:sldMk cId="3826877475" sldId="266"/>
            <ac:spMk id="8" creationId="{01D15DB7-CFCB-4FA9-A3B9-D256A20EB28D}"/>
          </ac:spMkLst>
        </pc:spChg>
        <pc:spChg chg="add del">
          <ac:chgData name="Sholderer, Olga" userId="e2c1dea8-b971-43c0-be57-c12a42680f03" providerId="ADAL" clId="{CE1E9B20-4A24-48FC-AAF1-4A39366449BB}" dt="2020-05-24T12:49:31.647" v="407"/>
          <ac:spMkLst>
            <pc:docMk/>
            <pc:sldMk cId="3826877475" sldId="266"/>
            <ac:spMk id="8" creationId="{19A61B62-2505-481E-90F5-B840F6D066A0}"/>
          </ac:spMkLst>
        </pc:spChg>
        <pc:spChg chg="mod">
          <ac:chgData name="Sholderer, Olga" userId="e2c1dea8-b971-43c0-be57-c12a42680f03" providerId="ADAL" clId="{CE1E9B20-4A24-48FC-AAF1-4A39366449BB}" dt="2020-06-07T11:09:23.729" v="1450" actId="108"/>
          <ac:spMkLst>
            <pc:docMk/>
            <pc:sldMk cId="3826877475" sldId="266"/>
            <ac:spMk id="9" creationId="{0AFC8701-9EF1-48A9-ADD4-77A4AB84A763}"/>
          </ac:spMkLst>
        </pc:spChg>
        <pc:grpChg chg="add mod">
          <ac:chgData name="Sholderer, Olga" userId="e2c1dea8-b971-43c0-be57-c12a42680f03" providerId="ADAL" clId="{CE1E9B20-4A24-48FC-AAF1-4A39366449BB}" dt="2020-06-07T11:09:42.853" v="1453" actId="1076"/>
          <ac:grpSpMkLst>
            <pc:docMk/>
            <pc:sldMk cId="3826877475" sldId="266"/>
            <ac:grpSpMk id="7" creationId="{553CBFBA-2FDA-4808-9C96-629C8154D874}"/>
          </ac:grpSpMkLst>
        </pc:grpChg>
        <pc:graphicFrameChg chg="mod">
          <ac:chgData name="Sholderer, Olga" userId="e2c1dea8-b971-43c0-be57-c12a42680f03" providerId="ADAL" clId="{CE1E9B20-4A24-48FC-AAF1-4A39366449BB}" dt="2020-06-07T11:22:30.106" v="2331"/>
          <ac:graphicFrameMkLst>
            <pc:docMk/>
            <pc:sldMk cId="3826877475" sldId="266"/>
            <ac:graphicFrameMk id="5" creationId="{524CDB31-7464-4FCF-8818-0D8323C3B351}"/>
          </ac:graphicFrameMkLst>
        </pc:graphicFrameChg>
      </pc:sldChg>
      <pc:sldChg chg="addSp delSp modSp add">
        <pc:chgData name="Sholderer, Olga" userId="e2c1dea8-b971-43c0-be57-c12a42680f03" providerId="ADAL" clId="{CE1E9B20-4A24-48FC-AAF1-4A39366449BB}" dt="2020-06-07T11:40:59.303" v="2727" actId="1038"/>
        <pc:sldMkLst>
          <pc:docMk/>
          <pc:sldMk cId="1922940790" sldId="267"/>
        </pc:sldMkLst>
        <pc:spChg chg="del mod ord">
          <ac:chgData name="Sholderer, Olga" userId="e2c1dea8-b971-43c0-be57-c12a42680f03" providerId="ADAL" clId="{CE1E9B20-4A24-48FC-AAF1-4A39366449BB}" dt="2020-05-30T09:00:53.534" v="1245" actId="478"/>
          <ac:spMkLst>
            <pc:docMk/>
            <pc:sldMk cId="1922940790" sldId="267"/>
            <ac:spMk id="2" creationId="{0BDAFAE6-7834-4787-B954-E9B63945853A}"/>
          </ac:spMkLst>
        </pc:spChg>
        <pc:spChg chg="mod ord">
          <ac:chgData name="Sholderer, Olga" userId="e2c1dea8-b971-43c0-be57-c12a42680f03" providerId="ADAL" clId="{CE1E9B20-4A24-48FC-AAF1-4A39366449BB}" dt="2020-06-07T11:40:39.533" v="2616" actId="1076"/>
          <ac:spMkLst>
            <pc:docMk/>
            <pc:sldMk cId="1922940790" sldId="267"/>
            <ac:spMk id="3" creationId="{C00A6374-159E-487C-A1C3-F7F8F9563139}"/>
          </ac:spMkLst>
        </pc:spChg>
        <pc:spChg chg="mod ord">
          <ac:chgData name="Sholderer, Olga" userId="e2c1dea8-b971-43c0-be57-c12a42680f03" providerId="ADAL" clId="{CE1E9B20-4A24-48FC-AAF1-4A39366449BB}" dt="2020-06-07T11:40:43.656" v="2617" actId="1076"/>
          <ac:spMkLst>
            <pc:docMk/>
            <pc:sldMk cId="1922940790" sldId="267"/>
            <ac:spMk id="5" creationId="{4171F22C-77E7-4F95-B0F0-D8D2B637124A}"/>
          </ac:spMkLst>
        </pc:spChg>
        <pc:spChg chg="mod ord">
          <ac:chgData name="Sholderer, Olga" userId="e2c1dea8-b971-43c0-be57-c12a42680f03" providerId="ADAL" clId="{CE1E9B20-4A24-48FC-AAF1-4A39366449BB}" dt="2020-06-07T11:40:33.338" v="2614" actId="1076"/>
          <ac:spMkLst>
            <pc:docMk/>
            <pc:sldMk cId="1922940790" sldId="267"/>
            <ac:spMk id="6" creationId="{0289DCCF-D68B-4F96-9F52-86D2BA2F4C0E}"/>
          </ac:spMkLst>
        </pc:spChg>
        <pc:spChg chg="mod ord">
          <ac:chgData name="Sholderer, Olga" userId="e2c1dea8-b971-43c0-be57-c12a42680f03" providerId="ADAL" clId="{CE1E9B20-4A24-48FC-AAF1-4A39366449BB}" dt="2020-05-30T08:49:51.367" v="1142" actId="207"/>
          <ac:spMkLst>
            <pc:docMk/>
            <pc:sldMk cId="1922940790" sldId="267"/>
            <ac:spMk id="7" creationId="{7901BAA3-23FF-4260-8910-1C7DEAEBBAF6}"/>
          </ac:spMkLst>
        </pc:spChg>
        <pc:spChg chg="add">
          <ac:chgData name="Sholderer, Olga" userId="e2c1dea8-b971-43c0-be57-c12a42680f03" providerId="ADAL" clId="{CE1E9B20-4A24-48FC-AAF1-4A39366449BB}" dt="2020-05-30T09:04:44.042" v="1298"/>
          <ac:spMkLst>
            <pc:docMk/>
            <pc:sldMk cId="1922940790" sldId="267"/>
            <ac:spMk id="9" creationId="{43B4156E-57AC-4085-BB3A-AB4F8ECF9149}"/>
          </ac:spMkLst>
        </pc:spChg>
        <pc:grpChg chg="add">
          <ac:chgData name="Sholderer, Olga" userId="e2c1dea8-b971-43c0-be57-c12a42680f03" providerId="ADAL" clId="{CE1E9B20-4A24-48FC-AAF1-4A39366449BB}" dt="2020-06-07T11:10:32.086" v="1462"/>
          <ac:grpSpMkLst>
            <pc:docMk/>
            <pc:sldMk cId="1922940790" sldId="267"/>
            <ac:grpSpMk id="10" creationId="{44580F4A-A70A-4039-ADBB-1F9E72E1C531}"/>
          </ac:grpSpMkLst>
        </pc:grpChg>
        <pc:graphicFrameChg chg="add mod ord modVis">
          <ac:chgData name="Sholderer, Olga" userId="e2c1dea8-b971-43c0-be57-c12a42680f03" providerId="ADAL" clId="{CE1E9B20-4A24-48FC-AAF1-4A39366449BB}" dt="2020-05-30T09:00:54.045" v="1247"/>
          <ac:graphicFrameMkLst>
            <pc:docMk/>
            <pc:sldMk cId="1922940790" sldId="267"/>
            <ac:graphicFrameMk id="8" creationId="{28C6802E-49AB-42C1-917B-934D1BF703BD}"/>
          </ac:graphicFrameMkLst>
        </pc:graphicFrameChg>
        <pc:picChg chg="mod ord">
          <ac:chgData name="Sholderer, Olga" userId="e2c1dea8-b971-43c0-be57-c12a42680f03" providerId="ADAL" clId="{CE1E9B20-4A24-48FC-AAF1-4A39366449BB}" dt="2020-06-07T11:40:59.303" v="2727" actId="1038"/>
          <ac:picMkLst>
            <pc:docMk/>
            <pc:sldMk cId="1922940790" sldId="267"/>
            <ac:picMk id="4" creationId="{BCFD7004-E1E2-419B-8180-B662DE2B3911}"/>
          </ac:picMkLst>
        </pc:picChg>
      </pc:sldChg>
      <pc:sldChg chg="del">
        <pc:chgData name="Sholderer, Olga" userId="e2c1dea8-b971-43c0-be57-c12a42680f03" providerId="ADAL" clId="{CE1E9B20-4A24-48FC-AAF1-4A39366449BB}" dt="2020-05-24T11:14:14.016" v="1" actId="2696"/>
        <pc:sldMkLst>
          <pc:docMk/>
          <pc:sldMk cId="1945419554" sldId="267"/>
        </pc:sldMkLst>
      </pc:sldChg>
      <pc:sldChg chg="addSp modSp">
        <pc:chgData name="Sholderer, Olga" userId="e2c1dea8-b971-43c0-be57-c12a42680f03" providerId="ADAL" clId="{CE1E9B20-4A24-48FC-AAF1-4A39366449BB}" dt="2020-06-07T11:52:02.545" v="2983"/>
        <pc:sldMkLst>
          <pc:docMk/>
          <pc:sldMk cId="3558918342" sldId="268"/>
        </pc:sldMkLst>
        <pc:spChg chg="mod">
          <ac:chgData name="Sholderer, Olga" userId="e2c1dea8-b971-43c0-be57-c12a42680f03" providerId="ADAL" clId="{CE1E9B20-4A24-48FC-AAF1-4A39366449BB}" dt="2020-06-07T11:52:02.033" v="2981" actId="20577"/>
          <ac:spMkLst>
            <pc:docMk/>
            <pc:sldMk cId="3558918342" sldId="268"/>
            <ac:spMk id="2" creationId="{F9621459-77E7-4D78-B15C-EE30C6DDCFC0}"/>
          </ac:spMkLst>
        </pc:spChg>
        <pc:spChg chg="mod">
          <ac:chgData name="Sholderer, Olga" userId="e2c1dea8-b971-43c0-be57-c12a42680f03" providerId="ADAL" clId="{CE1E9B20-4A24-48FC-AAF1-4A39366449BB}" dt="2020-06-07T11:51:35.061" v="2973" actId="1076"/>
          <ac:spMkLst>
            <pc:docMk/>
            <pc:sldMk cId="3558918342" sldId="268"/>
            <ac:spMk id="3" creationId="{EE719EA8-1725-4E13-84C2-F065E45FB5F9}"/>
          </ac:spMkLst>
        </pc:spChg>
        <pc:spChg chg="mod">
          <ac:chgData name="Sholderer, Olga" userId="e2c1dea8-b971-43c0-be57-c12a42680f03" providerId="ADAL" clId="{CE1E9B20-4A24-48FC-AAF1-4A39366449BB}" dt="2020-05-30T08:51:09.499" v="1167" actId="6549"/>
          <ac:spMkLst>
            <pc:docMk/>
            <pc:sldMk cId="3558918342" sldId="268"/>
            <ac:spMk id="5" creationId="{69F4F609-C8BF-4820-B00C-5EF11B11F336}"/>
          </ac:spMkLst>
        </pc:spChg>
        <pc:spChg chg="add">
          <ac:chgData name="Sholderer, Olga" userId="e2c1dea8-b971-43c0-be57-c12a42680f03" providerId="ADAL" clId="{CE1E9B20-4A24-48FC-AAF1-4A39366449BB}" dt="2020-05-30T09:04:47.583" v="1300"/>
          <ac:spMkLst>
            <pc:docMk/>
            <pc:sldMk cId="3558918342" sldId="268"/>
            <ac:spMk id="6" creationId="{0B3E9750-8DD9-4416-888E-4B5409212574}"/>
          </ac:spMkLst>
        </pc:spChg>
        <pc:spChg chg="add mod">
          <ac:chgData name="Sholderer, Olga" userId="e2c1dea8-b971-43c0-be57-c12a42680f03" providerId="ADAL" clId="{CE1E9B20-4A24-48FC-AAF1-4A39366449BB}" dt="2020-06-07T11:51:42.982" v="2974" actId="1076"/>
          <ac:spMkLst>
            <pc:docMk/>
            <pc:sldMk cId="3558918342" sldId="268"/>
            <ac:spMk id="12" creationId="{1C10B4B8-63D3-49C1-A68E-90EC2CFBE7BC}"/>
          </ac:spMkLst>
        </pc:spChg>
        <pc:spChg chg="add mod">
          <ac:chgData name="Sholderer, Olga" userId="e2c1dea8-b971-43c0-be57-c12a42680f03" providerId="ADAL" clId="{CE1E9B20-4A24-48FC-AAF1-4A39366449BB}" dt="2020-06-07T11:51:47.521" v="2975" actId="1076"/>
          <ac:spMkLst>
            <pc:docMk/>
            <pc:sldMk cId="3558918342" sldId="268"/>
            <ac:spMk id="13" creationId="{8D556173-3C10-4314-9F10-9197C798BBD5}"/>
          </ac:spMkLst>
        </pc:spChg>
        <pc:grpChg chg="add">
          <ac:chgData name="Sholderer, Olga" userId="e2c1dea8-b971-43c0-be57-c12a42680f03" providerId="ADAL" clId="{CE1E9B20-4A24-48FC-AAF1-4A39366449BB}" dt="2020-06-07T11:10:51.128" v="1466"/>
          <ac:grpSpMkLst>
            <pc:docMk/>
            <pc:sldMk cId="3558918342" sldId="268"/>
            <ac:grpSpMk id="7" creationId="{204F9907-2742-4110-B247-D67289C548AA}"/>
          </ac:grpSpMkLst>
        </pc:grpChg>
        <pc:graphicFrameChg chg="mod">
          <ac:chgData name="Sholderer, Olga" userId="e2c1dea8-b971-43c0-be57-c12a42680f03" providerId="ADAL" clId="{CE1E9B20-4A24-48FC-AAF1-4A39366449BB}" dt="2020-06-07T11:52:02.545" v="2983"/>
          <ac:graphicFrameMkLst>
            <pc:docMk/>
            <pc:sldMk cId="3558918342" sldId="268"/>
            <ac:graphicFrameMk id="4" creationId="{5103CC1D-37AB-43AD-89BE-C70455949B86}"/>
          </ac:graphicFrameMkLst>
        </pc:graphicFrameChg>
      </pc:sldChg>
      <pc:sldChg chg="del">
        <pc:chgData name="Sholderer, Olga" userId="e2c1dea8-b971-43c0-be57-c12a42680f03" providerId="ADAL" clId="{CE1E9B20-4A24-48FC-AAF1-4A39366449BB}" dt="2020-05-30T08:50:20.643" v="1143" actId="2696"/>
        <pc:sldMkLst>
          <pc:docMk/>
          <pc:sldMk cId="3064667412" sldId="269"/>
        </pc:sldMkLst>
      </pc:sldChg>
      <pc:sldChg chg="del">
        <pc:chgData name="Sholderer, Olga" userId="e2c1dea8-b971-43c0-be57-c12a42680f03" providerId="ADAL" clId="{CE1E9B20-4A24-48FC-AAF1-4A39366449BB}" dt="2020-05-30T08:50:23.999" v="1144" actId="2696"/>
        <pc:sldMkLst>
          <pc:docMk/>
          <pc:sldMk cId="736138086" sldId="270"/>
        </pc:sldMkLst>
      </pc:sldChg>
      <pc:sldChg chg="addSp modSp add">
        <pc:chgData name="Sholderer, Olga" userId="e2c1dea8-b971-43c0-be57-c12a42680f03" providerId="ADAL" clId="{CE1E9B20-4A24-48FC-AAF1-4A39366449BB}" dt="2020-06-07T11:35:12.948" v="2549" actId="1076"/>
        <pc:sldMkLst>
          <pc:docMk/>
          <pc:sldMk cId="391497991" sldId="271"/>
        </pc:sldMkLst>
        <pc:spChg chg="mod ord">
          <ac:chgData name="Sholderer, Olga" userId="e2c1dea8-b971-43c0-be57-c12a42680f03" providerId="ADAL" clId="{CE1E9B20-4A24-48FC-AAF1-4A39366449BB}" dt="2020-06-07T11:34:44.684" v="2545" actId="1076"/>
          <ac:spMkLst>
            <pc:docMk/>
            <pc:sldMk cId="391497991" sldId="271"/>
            <ac:spMk id="2" creationId="{B04C90B0-FCF0-4BA5-B91D-DEFB90BA286E}"/>
          </ac:spMkLst>
        </pc:spChg>
        <pc:spChg chg="mod ord">
          <ac:chgData name="Sholderer, Olga" userId="e2c1dea8-b971-43c0-be57-c12a42680f03" providerId="ADAL" clId="{CE1E9B20-4A24-48FC-AAF1-4A39366449BB}" dt="2020-06-07T11:35:03.371" v="2548" actId="1076"/>
          <ac:spMkLst>
            <pc:docMk/>
            <pc:sldMk cId="391497991" sldId="271"/>
            <ac:spMk id="3" creationId="{647E4D8F-FE78-4986-82CA-B72932C14168}"/>
          </ac:spMkLst>
        </pc:spChg>
        <pc:spChg chg="add mod ord modVis">
          <ac:chgData name="Sholderer, Olga" userId="e2c1dea8-b971-43c0-be57-c12a42680f03" providerId="ADAL" clId="{CE1E9B20-4A24-48FC-AAF1-4A39366449BB}" dt="2020-06-07T11:34:40.245" v="2542" actId="6549"/>
          <ac:spMkLst>
            <pc:docMk/>
            <pc:sldMk cId="391497991" sldId="271"/>
            <ac:spMk id="5" creationId="{EC696B57-5A5C-453F-8356-17F866A784BA}"/>
          </ac:spMkLst>
        </pc:spChg>
        <pc:spChg chg="add">
          <ac:chgData name="Sholderer, Olga" userId="e2c1dea8-b971-43c0-be57-c12a42680f03" providerId="ADAL" clId="{CE1E9B20-4A24-48FC-AAF1-4A39366449BB}" dt="2020-05-30T09:04:37.602" v="1296"/>
          <ac:spMkLst>
            <pc:docMk/>
            <pc:sldMk cId="391497991" sldId="271"/>
            <ac:spMk id="6" creationId="{5D918C56-9F95-4D26-AB22-2FE31BB907E8}"/>
          </ac:spMkLst>
        </pc:spChg>
        <pc:spChg chg="add mod">
          <ac:chgData name="Sholderer, Olga" userId="e2c1dea8-b971-43c0-be57-c12a42680f03" providerId="ADAL" clId="{CE1E9B20-4A24-48FC-AAF1-4A39366449BB}" dt="2020-06-07T11:35:12.948" v="2549" actId="1076"/>
          <ac:spMkLst>
            <pc:docMk/>
            <pc:sldMk cId="391497991" sldId="271"/>
            <ac:spMk id="12" creationId="{C32756BD-46B8-4C01-9C3F-E52FB17A1A49}"/>
          </ac:spMkLst>
        </pc:spChg>
        <pc:spChg chg="add mod">
          <ac:chgData name="Sholderer, Olga" userId="e2c1dea8-b971-43c0-be57-c12a42680f03" providerId="ADAL" clId="{CE1E9B20-4A24-48FC-AAF1-4A39366449BB}" dt="2020-06-07T11:35:12.948" v="2549" actId="1076"/>
          <ac:spMkLst>
            <pc:docMk/>
            <pc:sldMk cId="391497991" sldId="271"/>
            <ac:spMk id="13" creationId="{A99B9C98-0B03-4590-8C1D-E7A6F2E3FCAC}"/>
          </ac:spMkLst>
        </pc:spChg>
        <pc:spChg chg="add mod">
          <ac:chgData name="Sholderer, Olga" userId="e2c1dea8-b971-43c0-be57-c12a42680f03" providerId="ADAL" clId="{CE1E9B20-4A24-48FC-AAF1-4A39366449BB}" dt="2020-06-07T11:35:12.948" v="2549" actId="1076"/>
          <ac:spMkLst>
            <pc:docMk/>
            <pc:sldMk cId="391497991" sldId="271"/>
            <ac:spMk id="14" creationId="{2AACF682-9AF1-44C8-B857-20FDFA9473FF}"/>
          </ac:spMkLst>
        </pc:spChg>
        <pc:grpChg chg="add">
          <ac:chgData name="Sholderer, Olga" userId="e2c1dea8-b971-43c0-be57-c12a42680f03" providerId="ADAL" clId="{CE1E9B20-4A24-48FC-AAF1-4A39366449BB}" dt="2020-06-07T11:09:46.639" v="1454"/>
          <ac:grpSpMkLst>
            <pc:docMk/>
            <pc:sldMk cId="391497991" sldId="271"/>
            <ac:grpSpMk id="7" creationId="{2078C7BC-99F5-40A3-82E6-38B23B7A677E}"/>
          </ac:grpSpMkLst>
        </pc:grpChg>
        <pc:graphicFrameChg chg="add mod ord modVis">
          <ac:chgData name="Sholderer, Olga" userId="e2c1dea8-b971-43c0-be57-c12a42680f03" providerId="ADAL" clId="{CE1E9B20-4A24-48FC-AAF1-4A39366449BB}" dt="2020-06-07T11:34:45.204" v="2547"/>
          <ac:graphicFrameMkLst>
            <pc:docMk/>
            <pc:sldMk cId="391497991" sldId="271"/>
            <ac:graphicFrameMk id="4" creationId="{5465F714-0579-4609-A411-AEE81F7988A4}"/>
          </ac:graphicFrameMkLst>
        </pc:graphicFrameChg>
      </pc:sldChg>
      <pc:sldChg chg="addSp delSp modSp add del modTransition">
        <pc:chgData name="Sholderer, Olga" userId="e2c1dea8-b971-43c0-be57-c12a42680f03" providerId="ADAL" clId="{CE1E9B20-4A24-48FC-AAF1-4A39366449BB}" dt="2020-06-07T11:08:28.498" v="1442" actId="2696"/>
        <pc:sldMkLst>
          <pc:docMk/>
          <pc:sldMk cId="3312427559" sldId="272"/>
        </pc:sldMkLst>
        <pc:spChg chg="del">
          <ac:chgData name="Sholderer, Olga" userId="e2c1dea8-b971-43c0-be57-c12a42680f03" providerId="ADAL" clId="{CE1E9B20-4A24-48FC-AAF1-4A39366449BB}" dt="2020-05-24T13:02:24.180" v="607" actId="478"/>
          <ac:spMkLst>
            <pc:docMk/>
            <pc:sldMk cId="3312427559" sldId="272"/>
            <ac:spMk id="2" creationId="{F9A37318-72B5-44DA-A3D8-0C55DA0B1680}"/>
          </ac:spMkLst>
        </pc:spChg>
        <pc:spChg chg="mod">
          <ac:chgData name="Sholderer, Olga" userId="e2c1dea8-b971-43c0-be57-c12a42680f03" providerId="ADAL" clId="{CE1E9B20-4A24-48FC-AAF1-4A39366449BB}" dt="2020-05-30T08:43:44.745" v="964" actId="2711"/>
          <ac:spMkLst>
            <pc:docMk/>
            <pc:sldMk cId="3312427559" sldId="272"/>
            <ac:spMk id="3" creationId="{172461B2-B5DE-4CD6-8920-E959B37C421E}"/>
          </ac:spMkLst>
        </pc:spChg>
        <pc:spChg chg="add mod">
          <ac:chgData name="Sholderer, Olga" userId="e2c1dea8-b971-43c0-be57-c12a42680f03" providerId="ADAL" clId="{CE1E9B20-4A24-48FC-AAF1-4A39366449BB}" dt="2020-05-30T09:04:32.324" v="1294" actId="1036"/>
          <ac:spMkLst>
            <pc:docMk/>
            <pc:sldMk cId="3312427559" sldId="272"/>
            <ac:spMk id="6" creationId="{9A097753-76A1-4474-A048-0E4CC3AC1443}"/>
          </ac:spMkLst>
        </pc:spChg>
        <pc:graphicFrameChg chg="add mod ord modVis">
          <ac:chgData name="Sholderer, Olga" userId="e2c1dea8-b971-43c0-be57-c12a42680f03" providerId="ADAL" clId="{CE1E9B20-4A24-48FC-AAF1-4A39366449BB}" dt="2020-05-24T13:02:24.759" v="622"/>
          <ac:graphicFrameMkLst>
            <pc:docMk/>
            <pc:sldMk cId="3312427559" sldId="272"/>
            <ac:graphicFrameMk id="5" creationId="{C0F67177-1710-4FF3-97FF-CFAE1B0E4169}"/>
          </ac:graphicFrameMkLst>
        </pc:graphicFrameChg>
        <pc:picChg chg="add mod">
          <ac:chgData name="Sholderer, Olga" userId="e2c1dea8-b971-43c0-be57-c12a42680f03" providerId="ADAL" clId="{CE1E9B20-4A24-48FC-AAF1-4A39366449BB}" dt="2020-05-24T13:02:31.268" v="624" actId="14100"/>
          <ac:picMkLst>
            <pc:docMk/>
            <pc:sldMk cId="3312427559" sldId="272"/>
            <ac:picMk id="4" creationId="{5D924BD3-0A83-410C-93FF-BEF61FCB661D}"/>
          </ac:picMkLst>
        </pc:picChg>
      </pc:sldChg>
      <pc:sldChg chg="addSp delSp modSp add">
        <pc:chgData name="Sholderer, Olga" userId="e2c1dea8-b971-43c0-be57-c12a42680f03" providerId="ADAL" clId="{CE1E9B20-4A24-48FC-AAF1-4A39366449BB}" dt="2020-06-07T11:39:45.396" v="2608" actId="1076"/>
        <pc:sldMkLst>
          <pc:docMk/>
          <pc:sldMk cId="870464250" sldId="273"/>
        </pc:sldMkLst>
        <pc:spChg chg="mod ord">
          <ac:chgData name="Sholderer, Olga" userId="e2c1dea8-b971-43c0-be57-c12a42680f03" providerId="ADAL" clId="{CE1E9B20-4A24-48FC-AAF1-4A39366449BB}" dt="2020-06-07T11:36:25.264" v="2553" actId="255"/>
          <ac:spMkLst>
            <pc:docMk/>
            <pc:sldMk cId="870464250" sldId="273"/>
            <ac:spMk id="2" creationId="{E55789BB-1406-436C-A5DA-98E554322033}"/>
          </ac:spMkLst>
        </pc:spChg>
        <pc:spChg chg="mod ord">
          <ac:chgData name="Sholderer, Olga" userId="e2c1dea8-b971-43c0-be57-c12a42680f03" providerId="ADAL" clId="{CE1E9B20-4A24-48FC-AAF1-4A39366449BB}" dt="2020-06-07T11:39:35.807" v="2607" actId="179"/>
          <ac:spMkLst>
            <pc:docMk/>
            <pc:sldMk cId="870464250" sldId="273"/>
            <ac:spMk id="3" creationId="{0494E1AF-CD33-4331-9772-F90E14B1CD17}"/>
          </ac:spMkLst>
        </pc:spChg>
        <pc:spChg chg="add mod ord modVis">
          <ac:chgData name="Sholderer, Olga" userId="e2c1dea8-b971-43c0-be57-c12a42680f03" providerId="ADAL" clId="{CE1E9B20-4A24-48FC-AAF1-4A39366449BB}" dt="2020-06-07T11:36:25.818" v="2574" actId="6549"/>
          <ac:spMkLst>
            <pc:docMk/>
            <pc:sldMk cId="870464250" sldId="273"/>
            <ac:spMk id="4" creationId="{0A761296-9429-4EEE-9AAC-CA7DC6CAA139}"/>
          </ac:spMkLst>
        </pc:spChg>
        <pc:spChg chg="add">
          <ac:chgData name="Sholderer, Olga" userId="e2c1dea8-b971-43c0-be57-c12a42680f03" providerId="ADAL" clId="{CE1E9B20-4A24-48FC-AAF1-4A39366449BB}" dt="2020-05-30T09:04:39.639" v="1297"/>
          <ac:spMkLst>
            <pc:docMk/>
            <pc:sldMk cId="870464250" sldId="273"/>
            <ac:spMk id="6" creationId="{0DF21E7F-BE16-46B3-8DF1-15D3F0B89048}"/>
          </ac:spMkLst>
        </pc:spChg>
        <pc:spChg chg="mod">
          <ac:chgData name="Sholderer, Olga" userId="e2c1dea8-b971-43c0-be57-c12a42680f03" providerId="ADAL" clId="{CE1E9B20-4A24-48FC-AAF1-4A39366449BB}" dt="2020-06-07T11:10:21.515" v="1461" actId="207"/>
          <ac:spMkLst>
            <pc:docMk/>
            <pc:sldMk cId="870464250" sldId="273"/>
            <ac:spMk id="9" creationId="{9E9AE0EB-5B09-4DCB-8D50-552B6BB3B3C6}"/>
          </ac:spMkLst>
        </pc:spChg>
        <pc:spChg chg="mod">
          <ac:chgData name="Sholderer, Olga" userId="e2c1dea8-b971-43c0-be57-c12a42680f03" providerId="ADAL" clId="{CE1E9B20-4A24-48FC-AAF1-4A39366449BB}" dt="2020-06-07T11:10:05.552" v="1458" actId="108"/>
          <ac:spMkLst>
            <pc:docMk/>
            <pc:sldMk cId="870464250" sldId="273"/>
            <ac:spMk id="10" creationId="{62A74E75-2662-4A29-AE5B-A7CB4E345C57}"/>
          </ac:spMkLst>
        </pc:spChg>
        <pc:spChg chg="add mod">
          <ac:chgData name="Sholderer, Olga" userId="e2c1dea8-b971-43c0-be57-c12a42680f03" providerId="ADAL" clId="{CE1E9B20-4A24-48FC-AAF1-4A39366449BB}" dt="2020-06-07T11:37:15.427" v="2583" actId="1076"/>
          <ac:spMkLst>
            <pc:docMk/>
            <pc:sldMk cId="870464250" sldId="273"/>
            <ac:spMk id="12" creationId="{5B1137AD-B559-4823-AE42-DB3B37D41BA4}"/>
          </ac:spMkLst>
        </pc:spChg>
        <pc:grpChg chg="add">
          <ac:chgData name="Sholderer, Olga" userId="e2c1dea8-b971-43c0-be57-c12a42680f03" providerId="ADAL" clId="{CE1E9B20-4A24-48FC-AAF1-4A39366449BB}" dt="2020-06-07T11:09:50.345" v="1455"/>
          <ac:grpSpMkLst>
            <pc:docMk/>
            <pc:sldMk cId="870464250" sldId="273"/>
            <ac:grpSpMk id="7" creationId="{F3E55CD6-3D1F-4C08-BCDB-8AB653827992}"/>
          </ac:grpSpMkLst>
        </pc:grpChg>
        <pc:graphicFrameChg chg="add mod ord modVis">
          <ac:chgData name="Sholderer, Olga" userId="e2c1dea8-b971-43c0-be57-c12a42680f03" providerId="ADAL" clId="{CE1E9B20-4A24-48FC-AAF1-4A39366449BB}" dt="2020-06-07T11:36:25.825" v="2576"/>
          <ac:graphicFrameMkLst>
            <pc:docMk/>
            <pc:sldMk cId="870464250" sldId="273"/>
            <ac:graphicFrameMk id="5" creationId="{7517D29C-2EC3-4A85-89E5-B44FAEF127CA}"/>
          </ac:graphicFrameMkLst>
        </pc:graphicFrameChg>
        <pc:cxnChg chg="add del mod">
          <ac:chgData name="Sholderer, Olga" userId="e2c1dea8-b971-43c0-be57-c12a42680f03" providerId="ADAL" clId="{CE1E9B20-4A24-48FC-AAF1-4A39366449BB}" dt="2020-06-07T11:37:40.792" v="2585" actId="11529"/>
          <ac:cxnSpMkLst>
            <pc:docMk/>
            <pc:sldMk cId="870464250" sldId="273"/>
            <ac:cxnSpMk id="14" creationId="{CBB495F6-0904-4E67-9D3F-270BCF2C53B0}"/>
          </ac:cxnSpMkLst>
        </pc:cxnChg>
        <pc:cxnChg chg="add mod">
          <ac:chgData name="Sholderer, Olga" userId="e2c1dea8-b971-43c0-be57-c12a42680f03" providerId="ADAL" clId="{CE1E9B20-4A24-48FC-AAF1-4A39366449BB}" dt="2020-06-07T11:39:45.396" v="2608" actId="1076"/>
          <ac:cxnSpMkLst>
            <pc:docMk/>
            <pc:sldMk cId="870464250" sldId="273"/>
            <ac:cxnSpMk id="16" creationId="{01DC61FB-1D6E-4F8B-8C86-D1432BE532AC}"/>
          </ac:cxnSpMkLst>
        </pc:cxnChg>
        <pc:cxnChg chg="add mod">
          <ac:chgData name="Sholderer, Olga" userId="e2c1dea8-b971-43c0-be57-c12a42680f03" providerId="ADAL" clId="{CE1E9B20-4A24-48FC-AAF1-4A39366449BB}" dt="2020-06-07T11:39:45.396" v="2608" actId="1076"/>
          <ac:cxnSpMkLst>
            <pc:docMk/>
            <pc:sldMk cId="870464250" sldId="273"/>
            <ac:cxnSpMk id="20" creationId="{4759B620-1E5A-4D94-82CA-57A49EE2FFC8}"/>
          </ac:cxnSpMkLst>
        </pc:cxnChg>
        <pc:cxnChg chg="add mod">
          <ac:chgData name="Sholderer, Olga" userId="e2c1dea8-b971-43c0-be57-c12a42680f03" providerId="ADAL" clId="{CE1E9B20-4A24-48FC-AAF1-4A39366449BB}" dt="2020-06-07T11:39:45.396" v="2608" actId="1076"/>
          <ac:cxnSpMkLst>
            <pc:docMk/>
            <pc:sldMk cId="870464250" sldId="273"/>
            <ac:cxnSpMk id="21" creationId="{A98A982D-68DA-4F9C-8D65-8A3B9E8A33BA}"/>
          </ac:cxnSpMkLst>
        </pc:cxnChg>
        <pc:cxnChg chg="add mod">
          <ac:chgData name="Sholderer, Olga" userId="e2c1dea8-b971-43c0-be57-c12a42680f03" providerId="ADAL" clId="{CE1E9B20-4A24-48FC-AAF1-4A39366449BB}" dt="2020-06-07T11:39:45.396" v="2608" actId="1076"/>
          <ac:cxnSpMkLst>
            <pc:docMk/>
            <pc:sldMk cId="870464250" sldId="273"/>
            <ac:cxnSpMk id="22" creationId="{C2750A03-CF4D-4F48-AB4C-C349054A131D}"/>
          </ac:cxnSpMkLst>
        </pc:cxnChg>
      </pc:sldChg>
      <pc:sldChg chg="addSp delSp modSp add">
        <pc:chgData name="Sholderer, Olga" userId="e2c1dea8-b971-43c0-be57-c12a42680f03" providerId="ADAL" clId="{CE1E9B20-4A24-48FC-AAF1-4A39366449BB}" dt="2020-06-07T11:33:17.743" v="2508"/>
        <pc:sldMkLst>
          <pc:docMk/>
          <pc:sldMk cId="1839802446" sldId="274"/>
        </pc:sldMkLst>
        <pc:spChg chg="mod">
          <ac:chgData name="Sholderer, Olga" userId="e2c1dea8-b971-43c0-be57-c12a42680f03" providerId="ADAL" clId="{CE1E9B20-4A24-48FC-AAF1-4A39366449BB}" dt="2020-06-07T11:33:17.229" v="2506" actId="1076"/>
          <ac:spMkLst>
            <pc:docMk/>
            <pc:sldMk cId="1839802446" sldId="274"/>
            <ac:spMk id="2" creationId="{85F7489E-854B-49AB-8D64-3ABB9F366F42}"/>
          </ac:spMkLst>
        </pc:spChg>
        <pc:spChg chg="del mod">
          <ac:chgData name="Sholderer, Olga" userId="e2c1dea8-b971-43c0-be57-c12a42680f03" providerId="ADAL" clId="{CE1E9B20-4A24-48FC-AAF1-4A39366449BB}" dt="2020-06-07T11:28:11.509" v="2410" actId="478"/>
          <ac:spMkLst>
            <pc:docMk/>
            <pc:sldMk cId="1839802446" sldId="274"/>
            <ac:spMk id="3" creationId="{46D50455-A447-46A8-A65E-16072F61AF5C}"/>
          </ac:spMkLst>
        </pc:spChg>
        <pc:spChg chg="mod">
          <ac:chgData name="Sholderer, Olga" userId="e2c1dea8-b971-43c0-be57-c12a42680f03" providerId="ADAL" clId="{CE1E9B20-4A24-48FC-AAF1-4A39366449BB}" dt="2020-06-07T11:24:42.038" v="2365" actId="6549"/>
          <ac:spMkLst>
            <pc:docMk/>
            <pc:sldMk cId="1839802446" sldId="274"/>
            <ac:spMk id="4" creationId="{14FE47D2-3F94-47E3-A162-DAC3C91295FB}"/>
          </ac:spMkLst>
        </pc:spChg>
        <pc:spChg chg="add mod">
          <ac:chgData name="Sholderer, Olga" userId="e2c1dea8-b971-43c0-be57-c12a42680f03" providerId="ADAL" clId="{CE1E9B20-4A24-48FC-AAF1-4A39366449BB}" dt="2020-06-07T11:33:12.156" v="2505" actId="1076"/>
          <ac:spMkLst>
            <pc:docMk/>
            <pc:sldMk cId="1839802446" sldId="274"/>
            <ac:spMk id="12" creationId="{028D1A34-44CC-42B5-8E2A-2EF4F3D7786E}"/>
          </ac:spMkLst>
        </pc:spChg>
        <pc:spChg chg="add mod">
          <ac:chgData name="Sholderer, Olga" userId="e2c1dea8-b971-43c0-be57-c12a42680f03" providerId="ADAL" clId="{CE1E9B20-4A24-48FC-AAF1-4A39366449BB}" dt="2020-06-07T11:33:12.156" v="2505" actId="1076"/>
          <ac:spMkLst>
            <pc:docMk/>
            <pc:sldMk cId="1839802446" sldId="274"/>
            <ac:spMk id="13" creationId="{AECBC316-1C55-4515-B25D-2273A5E302E9}"/>
          </ac:spMkLst>
        </pc:spChg>
        <pc:spChg chg="add mod">
          <ac:chgData name="Sholderer, Olga" userId="e2c1dea8-b971-43c0-be57-c12a42680f03" providerId="ADAL" clId="{CE1E9B20-4A24-48FC-AAF1-4A39366449BB}" dt="2020-06-07T11:33:12.156" v="2505" actId="1076"/>
          <ac:spMkLst>
            <pc:docMk/>
            <pc:sldMk cId="1839802446" sldId="274"/>
            <ac:spMk id="14" creationId="{8C713179-9C6F-477A-9AA5-45F1E011B977}"/>
          </ac:spMkLst>
        </pc:spChg>
        <pc:spChg chg="add mod">
          <ac:chgData name="Sholderer, Olga" userId="e2c1dea8-b971-43c0-be57-c12a42680f03" providerId="ADAL" clId="{CE1E9B20-4A24-48FC-AAF1-4A39366449BB}" dt="2020-06-07T11:33:12.156" v="2505" actId="1076"/>
          <ac:spMkLst>
            <pc:docMk/>
            <pc:sldMk cId="1839802446" sldId="274"/>
            <ac:spMk id="15" creationId="{FD89E5BC-C345-4EC4-8AC1-0113A020B074}"/>
          </ac:spMkLst>
        </pc:spChg>
        <pc:spChg chg="add mod">
          <ac:chgData name="Sholderer, Olga" userId="e2c1dea8-b971-43c0-be57-c12a42680f03" providerId="ADAL" clId="{CE1E9B20-4A24-48FC-AAF1-4A39366449BB}" dt="2020-06-07T11:33:12.156" v="2505" actId="1076"/>
          <ac:spMkLst>
            <pc:docMk/>
            <pc:sldMk cId="1839802446" sldId="274"/>
            <ac:spMk id="16" creationId="{095E0D55-BA82-402B-BD5B-AD343B237596}"/>
          </ac:spMkLst>
        </pc:spChg>
        <pc:spChg chg="add mod">
          <ac:chgData name="Sholderer, Olga" userId="e2c1dea8-b971-43c0-be57-c12a42680f03" providerId="ADAL" clId="{CE1E9B20-4A24-48FC-AAF1-4A39366449BB}" dt="2020-06-07T11:33:12.156" v="2505" actId="1076"/>
          <ac:spMkLst>
            <pc:docMk/>
            <pc:sldMk cId="1839802446" sldId="274"/>
            <ac:spMk id="17" creationId="{7E10BAC3-3A7F-44F9-AD9C-EE8A9F4E5D11}"/>
          </ac:spMkLst>
        </pc:spChg>
        <pc:spChg chg="add mod">
          <ac:chgData name="Sholderer, Olga" userId="e2c1dea8-b971-43c0-be57-c12a42680f03" providerId="ADAL" clId="{CE1E9B20-4A24-48FC-AAF1-4A39366449BB}" dt="2020-06-07T11:33:12.156" v="2505" actId="1076"/>
          <ac:spMkLst>
            <pc:docMk/>
            <pc:sldMk cId="1839802446" sldId="274"/>
            <ac:spMk id="18" creationId="{E5EDE823-1D63-4FC1-9C0C-F4D91CB9F281}"/>
          </ac:spMkLst>
        </pc:spChg>
        <pc:spChg chg="add mod">
          <ac:chgData name="Sholderer, Olga" userId="e2c1dea8-b971-43c0-be57-c12a42680f03" providerId="ADAL" clId="{CE1E9B20-4A24-48FC-AAF1-4A39366449BB}" dt="2020-06-07T11:33:12.156" v="2505" actId="1076"/>
          <ac:spMkLst>
            <pc:docMk/>
            <pc:sldMk cId="1839802446" sldId="274"/>
            <ac:spMk id="19" creationId="{07EA0864-60FE-435A-9537-18D3FEC0EAA7}"/>
          </ac:spMkLst>
        </pc:spChg>
        <pc:graphicFrameChg chg="mod">
          <ac:chgData name="Sholderer, Olga" userId="e2c1dea8-b971-43c0-be57-c12a42680f03" providerId="ADAL" clId="{CE1E9B20-4A24-48FC-AAF1-4A39366449BB}" dt="2020-06-07T11:33:17.743" v="2508"/>
          <ac:graphicFrameMkLst>
            <pc:docMk/>
            <pc:sldMk cId="1839802446" sldId="274"/>
            <ac:graphicFrameMk id="5" creationId="{524CDB31-7464-4FCF-8818-0D8323C3B351}"/>
          </ac:graphicFrameMkLst>
        </pc:graphicFrameChg>
      </pc:sldChg>
      <pc:sldChg chg="addSp delSp modSp add del">
        <pc:chgData name="Sholderer, Olga" userId="e2c1dea8-b971-43c0-be57-c12a42680f03" providerId="ADAL" clId="{CE1E9B20-4A24-48FC-AAF1-4A39366449BB}" dt="2020-06-07T11:04:23.437" v="1395" actId="2696"/>
        <pc:sldMkLst>
          <pc:docMk/>
          <pc:sldMk cId="2204833697" sldId="274"/>
        </pc:sldMkLst>
        <pc:spChg chg="del">
          <ac:chgData name="Sholderer, Olga" userId="e2c1dea8-b971-43c0-be57-c12a42680f03" providerId="ADAL" clId="{CE1E9B20-4A24-48FC-AAF1-4A39366449BB}" dt="2020-06-07T10:34:34.816" v="1331" actId="478"/>
          <ac:spMkLst>
            <pc:docMk/>
            <pc:sldMk cId="2204833697" sldId="274"/>
            <ac:spMk id="2" creationId="{149B654C-24CB-47FF-8DA5-5D23704C7171}"/>
          </ac:spMkLst>
        </pc:spChg>
        <pc:spChg chg="del">
          <ac:chgData name="Sholderer, Olga" userId="e2c1dea8-b971-43c0-be57-c12a42680f03" providerId="ADAL" clId="{CE1E9B20-4A24-48FC-AAF1-4A39366449BB}" dt="2020-06-07T10:34:33.014" v="1330" actId="478"/>
          <ac:spMkLst>
            <pc:docMk/>
            <pc:sldMk cId="2204833697" sldId="274"/>
            <ac:spMk id="3" creationId="{448E8DE6-7B57-41D2-B62E-B33B0E826D7C}"/>
          </ac:spMkLst>
        </pc:spChg>
        <pc:spChg chg="add 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5" creationId="{D4F3FDBD-2E48-428B-859B-CC80853C7663}"/>
          </ac:spMkLst>
        </pc:spChg>
        <pc:spChg chg="add 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6" creationId="{52BA2E5F-14C8-4FD2-AF88-ACC899BE159F}"/>
          </ac:spMkLst>
        </pc:spChg>
        <pc:spChg chg="add del mod">
          <ac:chgData name="Sholderer, Olga" userId="e2c1dea8-b971-43c0-be57-c12a42680f03" providerId="ADAL" clId="{CE1E9B20-4A24-48FC-AAF1-4A39366449BB}" dt="2020-06-07T10:38:44.930" v="1370" actId="478"/>
          <ac:spMkLst>
            <pc:docMk/>
            <pc:sldMk cId="2204833697" sldId="274"/>
            <ac:spMk id="7" creationId="{32CD35B2-4F45-4089-A6A2-96EFBCBFCBD6}"/>
          </ac:spMkLst>
        </pc:spChg>
        <pc:spChg chg="add 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8" creationId="{9F527E82-F95B-4F09-9F91-1AF1FD67D0FD}"/>
          </ac:spMkLst>
        </pc:spChg>
        <pc:spChg chg="add 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10" creationId="{14D6D152-08CE-4C20-AD22-E6228D242ABE}"/>
          </ac:spMkLst>
        </pc:spChg>
        <pc:spChg chg="add mod">
          <ac:chgData name="Sholderer, Olga" userId="e2c1dea8-b971-43c0-be57-c12a42680f03" providerId="ADAL" clId="{CE1E9B20-4A24-48FC-AAF1-4A39366449BB}" dt="2020-06-07T10:37:42.227" v="1360" actId="1076"/>
          <ac:spMkLst>
            <pc:docMk/>
            <pc:sldMk cId="2204833697" sldId="274"/>
            <ac:spMk id="11" creationId="{1F23A41A-F106-498E-91A9-C73280D1092C}"/>
          </ac:spMkLst>
        </pc:spChg>
        <pc:spChg chg="add 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13" creationId="{96D596BA-B6E0-47C6-86FE-9EE2BAC18CF6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16" creationId="{4A044992-87A9-46B9-8058-596AF0DA5C2D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17" creationId="{1C6B4238-0A4A-4095-8050-C719E59CB5BC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18" creationId="{473CC3C2-F085-4E32-A75D-D2C31EF5E58A}"/>
          </ac:spMkLst>
        </pc:spChg>
        <pc:spChg chg="add del mod">
          <ac:chgData name="Sholderer, Olga" userId="e2c1dea8-b971-43c0-be57-c12a42680f03" providerId="ADAL" clId="{CE1E9B20-4A24-48FC-AAF1-4A39366449BB}" dt="2020-06-07T10:37:44.133" v="1361" actId="478"/>
          <ac:spMkLst>
            <pc:docMk/>
            <pc:sldMk cId="2204833697" sldId="274"/>
            <ac:spMk id="19" creationId="{D4831EC2-AEAF-4D9B-B87D-4CAE66B1A226}"/>
          </ac:spMkLst>
        </pc:spChg>
        <pc:spChg chg="add 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20" creationId="{EF8D8086-FA2B-4E13-AE6E-D187EBA1E94F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22" creationId="{AE4AD802-BA63-4CB9-9B1C-4F5BB55C72B8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24" creationId="{B6739556-B4E5-42E6-A5D4-23DB33ADD2BA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25" creationId="{7036640C-63D2-4F23-B6C0-BAB45B169E95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26" creationId="{53B7AA7C-5A1D-4B99-B3DA-E2422921FB5D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29" creationId="{8EFEA914-476B-4A08-909A-192A69641105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30" creationId="{B4181865-DE83-41CC-B918-5F7ADE0EC33E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31" creationId="{8D053734-039B-44B5-8B52-5333660F2E1B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32" creationId="{64860E44-0098-4F85-8E53-B1A6AED0FA28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35" creationId="{6CCDB733-1421-4D37-A789-1D8833AD3C3E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36" creationId="{949F23AA-50A9-4695-A240-8FD819ACB6C3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37" creationId="{E6461C7F-76F8-4112-ADD6-0A5F7EE6C08A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40" creationId="{6EC6DDBA-0078-4CA2-80E8-7ACD9BFF8803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41" creationId="{4A569547-7E87-46E7-8561-A92F1E4BFF8E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42" creationId="{5B6444BF-3A51-4612-B74F-AB0871B16EF0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43" creationId="{C7AE42E7-F07F-4185-88F3-F7016ED4A1AE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45" creationId="{9AC3EDA0-EA06-47C8-A047-7E7218B2211C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46" creationId="{90657685-5EA2-4123-A5FF-A7D049AE228E}"/>
          </ac:spMkLst>
        </pc:spChg>
        <pc:spChg chg="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48" creationId="{FF6A6E55-7682-43C5-B0E6-F9B25769AEC9}"/>
          </ac:spMkLst>
        </pc:spChg>
        <pc:spChg chg="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49" creationId="{81A637B1-FF1E-4F8B-B15E-450F35A518B8}"/>
          </ac:spMkLst>
        </pc:spChg>
        <pc:spChg chg="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50" creationId="{92986485-8825-430A-A9E1-BBDB0D852C87}"/>
          </ac:spMkLst>
        </pc:spChg>
        <pc:spChg chg="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51" creationId="{CFE81E03-88CB-4822-8B82-C00E65E62FB5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53" creationId="{196C5ECC-ED65-4532-8679-FA656F2BC1AE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54" creationId="{7B591AEB-01E9-42D5-BB63-03132ADD5C9A}"/>
          </ac:spMkLst>
        </pc:spChg>
        <pc:spChg chg="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56" creationId="{672EE2E4-D4B4-45FE-A1C2-2817BF4501AC}"/>
          </ac:spMkLst>
        </pc:spChg>
        <pc:spChg chg="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57" creationId="{008B97BF-8A6A-4986-A742-8AAFF9542B73}"/>
          </ac:spMkLst>
        </pc:spChg>
        <pc:spChg chg="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58" creationId="{742951A3-FEF2-438D-BB08-EFE994D4EC8E}"/>
          </ac:spMkLst>
        </pc:spChg>
        <pc:spChg chg="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59" creationId="{EA232ABB-66B5-457E-B37C-C3263905A430}"/>
          </ac:spMkLst>
        </pc:spChg>
        <pc:spChg chg="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60" creationId="{F841B15B-C9D6-4197-950A-5D899184B4C8}"/>
          </ac:spMkLst>
        </pc:spChg>
        <pc:spChg chg="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61" creationId="{E6B7C6CF-D2C7-4DF5-B338-B1AD4E9054F1}"/>
          </ac:spMkLst>
        </pc:spChg>
        <pc:spChg chg="mod">
          <ac:chgData name="Sholderer, Olga" userId="e2c1dea8-b971-43c0-be57-c12a42680f03" providerId="ADAL" clId="{CE1E9B20-4A24-48FC-AAF1-4A39366449BB}" dt="2020-06-07T10:36:11.942" v="1351" actId="208"/>
          <ac:spMkLst>
            <pc:docMk/>
            <pc:sldMk cId="2204833697" sldId="274"/>
            <ac:spMk id="62" creationId="{BA248AE6-D85A-4E9F-A61D-BECBDF6C4CB5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64" creationId="{AF07A9FC-01B7-4353-AE66-E97ECCFC1CB0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66" creationId="{5FFBD259-0AAC-4EDF-BBA8-774CF7492DBC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67" creationId="{BEBEA2BD-6F2F-48C3-BFF7-D724EE22E117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68" creationId="{C380D762-99E4-4B08-A4B4-8DF3E30C9B05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75" creationId="{CD4BEA56-537A-4941-9835-A25CB5C6DABF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76" creationId="{61A870A5-FF14-4F48-B870-08A48B984070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78" creationId="{2A12BBDE-AE8E-4D95-9266-056F5D676BF8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79" creationId="{B7B57C61-A583-40C2-991A-9E7519807D63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88" creationId="{EBA30F8D-B72F-43BB-B80E-479FFA38BA38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90" creationId="{0AC0F373-75B6-45D9-9C65-BA1717C15C1D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91" creationId="{634D100A-28AE-41FF-B01E-129019A4DAA1}"/>
          </ac:spMkLst>
        </pc:spChg>
        <pc:spChg chg="mod">
          <ac:chgData name="Sholderer, Olga" userId="e2c1dea8-b971-43c0-be57-c12a42680f03" providerId="ADAL" clId="{CE1E9B20-4A24-48FC-AAF1-4A39366449BB}" dt="2020-06-07T10:37:06.896" v="1352" actId="2085"/>
          <ac:spMkLst>
            <pc:docMk/>
            <pc:sldMk cId="2204833697" sldId="274"/>
            <ac:spMk id="92" creationId="{B24AC438-74CE-4C7D-928E-98AB95A50491}"/>
          </ac:spMkLst>
        </pc:spChg>
        <pc:spChg chg="mod">
          <ac:chgData name="Sholderer, Olga" userId="e2c1dea8-b971-43c0-be57-c12a42680f03" providerId="ADAL" clId="{CE1E9B20-4A24-48FC-AAF1-4A39366449BB}" dt="2020-06-07T10:38:41.545" v="1369" actId="208"/>
          <ac:spMkLst>
            <pc:docMk/>
            <pc:sldMk cId="2204833697" sldId="274"/>
            <ac:spMk id="93" creationId="{1F14F503-51FE-4131-95C2-B4D8F294B77B}"/>
          </ac:spMkLst>
        </pc:spChg>
        <pc:grpChg chg="add mod">
          <ac:chgData name="Sholderer, Olga" userId="e2c1dea8-b971-43c0-be57-c12a42680f03" providerId="ADAL" clId="{CE1E9B20-4A24-48FC-AAF1-4A39366449BB}" dt="2020-06-07T10:35:02.876" v="1350" actId="207"/>
          <ac:grpSpMkLst>
            <pc:docMk/>
            <pc:sldMk cId="2204833697" sldId="274"/>
            <ac:grpSpMk id="14" creationId="{12C7063A-9CEB-41A1-B2DF-D6FBAAB58C23}"/>
          </ac:grpSpMkLst>
        </pc:grpChg>
        <pc:grpChg chg="add mod">
          <ac:chgData name="Sholderer, Olga" userId="e2c1dea8-b971-43c0-be57-c12a42680f03" providerId="ADAL" clId="{CE1E9B20-4A24-48FC-AAF1-4A39366449BB}" dt="2020-06-07T10:37:34.796" v="1358" actId="1076"/>
          <ac:grpSpMkLst>
            <pc:docMk/>
            <pc:sldMk cId="2204833697" sldId="274"/>
            <ac:grpSpMk id="21" creationId="{ACA69AFC-A73B-4BF0-8F17-A234D0D41843}"/>
          </ac:grpSpMkLst>
        </pc:grpChg>
        <pc:grpChg chg="add mod">
          <ac:chgData name="Sholderer, Olga" userId="e2c1dea8-b971-43c0-be57-c12a42680f03" providerId="ADAL" clId="{CE1E9B20-4A24-48FC-AAF1-4A39366449BB}" dt="2020-06-07T10:35:02.876" v="1350" actId="207"/>
          <ac:grpSpMkLst>
            <pc:docMk/>
            <pc:sldMk cId="2204833697" sldId="274"/>
            <ac:grpSpMk id="27" creationId="{EFF4BDF3-D88A-46D8-BA44-250B749FEC44}"/>
          </ac:grpSpMkLst>
        </pc:grpChg>
        <pc:grpChg chg="add mod">
          <ac:chgData name="Sholderer, Olga" userId="e2c1dea8-b971-43c0-be57-c12a42680f03" providerId="ADAL" clId="{CE1E9B20-4A24-48FC-AAF1-4A39366449BB}" dt="2020-06-07T10:35:02.876" v="1350" actId="207"/>
          <ac:grpSpMkLst>
            <pc:docMk/>
            <pc:sldMk cId="2204833697" sldId="274"/>
            <ac:grpSpMk id="33" creationId="{4123C548-4815-475C-951A-0FA889B003E2}"/>
          </ac:grpSpMkLst>
        </pc:grpChg>
        <pc:grpChg chg="add mod">
          <ac:chgData name="Sholderer, Olga" userId="e2c1dea8-b971-43c0-be57-c12a42680f03" providerId="ADAL" clId="{CE1E9B20-4A24-48FC-AAF1-4A39366449BB}" dt="2020-06-07T10:35:02.876" v="1350" actId="207"/>
          <ac:grpSpMkLst>
            <pc:docMk/>
            <pc:sldMk cId="2204833697" sldId="274"/>
            <ac:grpSpMk id="38" creationId="{43086E33-B21C-4DEC-8FBE-746AD8BC5747}"/>
          </ac:grpSpMkLst>
        </pc:grpChg>
        <pc:grpChg chg="add mod">
          <ac:chgData name="Sholderer, Olga" userId="e2c1dea8-b971-43c0-be57-c12a42680f03" providerId="ADAL" clId="{CE1E9B20-4A24-48FC-AAF1-4A39366449BB}" dt="2020-06-07T10:35:02.876" v="1350" actId="207"/>
          <ac:grpSpMkLst>
            <pc:docMk/>
            <pc:sldMk cId="2204833697" sldId="274"/>
            <ac:grpSpMk id="44" creationId="{21EA66CD-0BB2-41AC-810D-2B72F6E6E5C2}"/>
          </ac:grpSpMkLst>
        </pc:grpChg>
        <pc:grpChg chg="add mod">
          <ac:chgData name="Sholderer, Olga" userId="e2c1dea8-b971-43c0-be57-c12a42680f03" providerId="ADAL" clId="{CE1E9B20-4A24-48FC-AAF1-4A39366449BB}" dt="2020-06-07T10:35:02.876" v="1350" actId="207"/>
          <ac:grpSpMkLst>
            <pc:docMk/>
            <pc:sldMk cId="2204833697" sldId="274"/>
            <ac:grpSpMk id="47" creationId="{4BD8FE34-ABB7-4745-8AA2-4727C66C6DC3}"/>
          </ac:grpSpMkLst>
        </pc:grpChg>
        <pc:grpChg chg="add mod">
          <ac:chgData name="Sholderer, Olga" userId="e2c1dea8-b971-43c0-be57-c12a42680f03" providerId="ADAL" clId="{CE1E9B20-4A24-48FC-AAF1-4A39366449BB}" dt="2020-06-07T10:35:02.876" v="1350" actId="207"/>
          <ac:grpSpMkLst>
            <pc:docMk/>
            <pc:sldMk cId="2204833697" sldId="274"/>
            <ac:grpSpMk id="52" creationId="{08CB27E3-3B11-48F8-B1DF-125CA25E1AD6}"/>
          </ac:grpSpMkLst>
        </pc:grpChg>
        <pc:grpChg chg="add mod">
          <ac:chgData name="Sholderer, Olga" userId="e2c1dea8-b971-43c0-be57-c12a42680f03" providerId="ADAL" clId="{CE1E9B20-4A24-48FC-AAF1-4A39366449BB}" dt="2020-06-07T10:35:02.876" v="1350" actId="207"/>
          <ac:grpSpMkLst>
            <pc:docMk/>
            <pc:sldMk cId="2204833697" sldId="274"/>
            <ac:grpSpMk id="55" creationId="{F956D2FF-A856-4CF8-9C2A-2904DF145B97}"/>
          </ac:grpSpMkLst>
        </pc:grpChg>
        <pc:grpChg chg="add mod">
          <ac:chgData name="Sholderer, Olga" userId="e2c1dea8-b971-43c0-be57-c12a42680f03" providerId="ADAL" clId="{CE1E9B20-4A24-48FC-AAF1-4A39366449BB}" dt="2020-06-07T10:37:38.332" v="1359" actId="1076"/>
          <ac:grpSpMkLst>
            <pc:docMk/>
            <pc:sldMk cId="2204833697" sldId="274"/>
            <ac:grpSpMk id="63" creationId="{AB58DE91-124F-4899-9D12-3E01E05E02A3}"/>
          </ac:grpSpMkLst>
        </pc:grpChg>
        <pc:grpChg chg="add mod">
          <ac:chgData name="Sholderer, Olga" userId="e2c1dea8-b971-43c0-be57-c12a42680f03" providerId="ADAL" clId="{CE1E9B20-4A24-48FC-AAF1-4A39366449BB}" dt="2020-06-07T10:35:02.876" v="1350" actId="207"/>
          <ac:grpSpMkLst>
            <pc:docMk/>
            <pc:sldMk cId="2204833697" sldId="274"/>
            <ac:grpSpMk id="73" creationId="{46543DC7-7E18-4C53-8FC9-81C766E4525F}"/>
          </ac:grpSpMkLst>
        </pc:grpChg>
        <pc:grpChg chg="add mod">
          <ac:chgData name="Sholderer, Olga" userId="e2c1dea8-b971-43c0-be57-c12a42680f03" providerId="ADAL" clId="{CE1E9B20-4A24-48FC-AAF1-4A39366449BB}" dt="2020-06-07T10:38:29.963" v="1368" actId="207"/>
          <ac:grpSpMkLst>
            <pc:docMk/>
            <pc:sldMk cId="2204833697" sldId="274"/>
            <ac:grpSpMk id="85" creationId="{6F321049-691E-4C77-80E3-AB5740389E99}"/>
          </ac:grpSpMkLst>
        </pc:grpChg>
        <pc:grpChg chg="mod">
          <ac:chgData name="Sholderer, Olga" userId="e2c1dea8-b971-43c0-be57-c12a42680f03" providerId="ADAL" clId="{CE1E9B20-4A24-48FC-AAF1-4A39366449BB}" dt="2020-06-07T10:34:40.702" v="1346" actId="207"/>
          <ac:grpSpMkLst>
            <pc:docMk/>
            <pc:sldMk cId="2204833697" sldId="274"/>
            <ac:grpSpMk id="87" creationId="{E7E50B33-2A49-41FA-A297-94CA45982028}"/>
          </ac:grpSpMkLst>
        </pc:grpChg>
        <pc:graphicFrameChg chg="add mod modVis">
          <ac:chgData name="Sholderer, Olga" userId="e2c1dea8-b971-43c0-be57-c12a42680f03" providerId="ADAL" clId="{CE1E9B20-4A24-48FC-AAF1-4A39366449BB}" dt="2020-06-07T10:34:35.430" v="1344"/>
          <ac:graphicFrameMkLst>
            <pc:docMk/>
            <pc:sldMk cId="2204833697" sldId="274"/>
            <ac:graphicFrameMk id="4" creationId="{5A9F3861-1622-4EBC-9A14-732CAE763C36}"/>
          </ac:graphicFrameMkLst>
        </pc:graphicFrameChg>
        <pc:cxnChg chg="add mod">
          <ac:chgData name="Sholderer, Olga" userId="e2c1dea8-b971-43c0-be57-c12a42680f03" providerId="ADAL" clId="{CE1E9B20-4A24-48FC-AAF1-4A39366449BB}" dt="2020-06-07T10:36:11.942" v="1351" actId="208"/>
          <ac:cxnSpMkLst>
            <pc:docMk/>
            <pc:sldMk cId="2204833697" sldId="274"/>
            <ac:cxnSpMk id="9" creationId="{1EAE2DDF-2986-44B4-A5A1-AF4C0EB31B50}"/>
          </ac:cxnSpMkLst>
        </pc:cxnChg>
        <pc:cxnChg chg="add mod">
          <ac:chgData name="Sholderer, Olga" userId="e2c1dea8-b971-43c0-be57-c12a42680f03" providerId="ADAL" clId="{CE1E9B20-4A24-48FC-AAF1-4A39366449BB}" dt="2020-06-07T10:38:09.386" v="1367" actId="14100"/>
          <ac:cxnSpMkLst>
            <pc:docMk/>
            <pc:sldMk cId="2204833697" sldId="274"/>
            <ac:cxnSpMk id="12" creationId="{DAE24FBA-3EA6-48C0-8F93-A361DC12F55C}"/>
          </ac:cxnSpMkLst>
        </pc:cxnChg>
        <pc:cxnChg chg="add del mod">
          <ac:chgData name="Sholderer, Olga" userId="e2c1dea8-b971-43c0-be57-c12a42680f03" providerId="ADAL" clId="{CE1E9B20-4A24-48FC-AAF1-4A39366449BB}" dt="2020-06-07T10:37:30.917" v="1357" actId="14100"/>
          <ac:cxnSpMkLst>
            <pc:docMk/>
            <pc:sldMk cId="2204833697" sldId="274"/>
            <ac:cxnSpMk id="69" creationId="{250D2DB7-DEAF-4B91-AB63-EACACF8C8AF9}"/>
          </ac:cxnSpMkLst>
        </pc:cxnChg>
        <pc:cxnChg chg="add mod">
          <ac:chgData name="Sholderer, Olga" userId="e2c1dea8-b971-43c0-be57-c12a42680f03" providerId="ADAL" clId="{CE1E9B20-4A24-48FC-AAF1-4A39366449BB}" dt="2020-06-07T10:36:11.942" v="1351" actId="208"/>
          <ac:cxnSpMkLst>
            <pc:docMk/>
            <pc:sldMk cId="2204833697" sldId="274"/>
            <ac:cxnSpMk id="70" creationId="{F057469F-C5B4-42C3-80C1-85CC7D968BF0}"/>
          </ac:cxnSpMkLst>
        </pc:cxnChg>
        <pc:cxnChg chg="add mod">
          <ac:chgData name="Sholderer, Olga" userId="e2c1dea8-b971-43c0-be57-c12a42680f03" providerId="ADAL" clId="{CE1E9B20-4A24-48FC-AAF1-4A39366449BB}" dt="2020-06-07T10:36:11.942" v="1351" actId="208"/>
          <ac:cxnSpMkLst>
            <pc:docMk/>
            <pc:sldMk cId="2204833697" sldId="274"/>
            <ac:cxnSpMk id="71" creationId="{F8ED7EB2-4860-4C4E-A093-B0D9E1464D02}"/>
          </ac:cxnSpMkLst>
        </pc:cxnChg>
        <pc:cxnChg chg="add mod">
          <ac:chgData name="Sholderer, Olga" userId="e2c1dea8-b971-43c0-be57-c12a42680f03" providerId="ADAL" clId="{CE1E9B20-4A24-48FC-AAF1-4A39366449BB}" dt="2020-06-07T10:36:11.942" v="1351" actId="208"/>
          <ac:cxnSpMkLst>
            <pc:docMk/>
            <pc:sldMk cId="2204833697" sldId="274"/>
            <ac:cxnSpMk id="72" creationId="{C26742A2-DB93-41F2-8AC3-BC20D5CD6BE5}"/>
          </ac:cxnSpMkLst>
        </pc:cxnChg>
        <pc:cxnChg chg="add mod">
          <ac:chgData name="Sholderer, Olga" userId="e2c1dea8-b971-43c0-be57-c12a42680f03" providerId="ADAL" clId="{CE1E9B20-4A24-48FC-AAF1-4A39366449BB}" dt="2020-06-07T10:36:11.942" v="1351" actId="208"/>
          <ac:cxnSpMkLst>
            <pc:docMk/>
            <pc:sldMk cId="2204833697" sldId="274"/>
            <ac:cxnSpMk id="80" creationId="{9E07ABE8-ADFE-4C79-B386-3BF1DD2CC0CD}"/>
          </ac:cxnSpMkLst>
        </pc:cxnChg>
        <pc:cxnChg chg="add mod">
          <ac:chgData name="Sholderer, Olga" userId="e2c1dea8-b971-43c0-be57-c12a42680f03" providerId="ADAL" clId="{CE1E9B20-4A24-48FC-AAF1-4A39366449BB}" dt="2020-06-07T10:36:11.942" v="1351" actId="208"/>
          <ac:cxnSpMkLst>
            <pc:docMk/>
            <pc:sldMk cId="2204833697" sldId="274"/>
            <ac:cxnSpMk id="81" creationId="{99184B2C-102B-423D-8909-87467B6C09A0}"/>
          </ac:cxnSpMkLst>
        </pc:cxnChg>
        <pc:cxnChg chg="add mod">
          <ac:chgData name="Sholderer, Olga" userId="e2c1dea8-b971-43c0-be57-c12a42680f03" providerId="ADAL" clId="{CE1E9B20-4A24-48FC-AAF1-4A39366449BB}" dt="2020-06-07T10:36:11.942" v="1351" actId="208"/>
          <ac:cxnSpMkLst>
            <pc:docMk/>
            <pc:sldMk cId="2204833697" sldId="274"/>
            <ac:cxnSpMk id="82" creationId="{345A9F84-B91A-407C-B14F-DD61BCC7847F}"/>
          </ac:cxnSpMkLst>
        </pc:cxnChg>
        <pc:cxnChg chg="add mod">
          <ac:chgData name="Sholderer, Olga" userId="e2c1dea8-b971-43c0-be57-c12a42680f03" providerId="ADAL" clId="{CE1E9B20-4A24-48FC-AAF1-4A39366449BB}" dt="2020-06-07T10:36:11.942" v="1351" actId="208"/>
          <ac:cxnSpMkLst>
            <pc:docMk/>
            <pc:sldMk cId="2204833697" sldId="274"/>
            <ac:cxnSpMk id="83" creationId="{6E8DFA8B-BA09-4A7E-9CCE-744286239A52}"/>
          </ac:cxnSpMkLst>
        </pc:cxnChg>
        <pc:cxnChg chg="add mod">
          <ac:chgData name="Sholderer, Olga" userId="e2c1dea8-b971-43c0-be57-c12a42680f03" providerId="ADAL" clId="{CE1E9B20-4A24-48FC-AAF1-4A39366449BB}" dt="2020-06-07T10:36:11.942" v="1351" actId="208"/>
          <ac:cxnSpMkLst>
            <pc:docMk/>
            <pc:sldMk cId="2204833697" sldId="274"/>
            <ac:cxnSpMk id="84" creationId="{ADD2B250-8E01-4C1A-96BA-4289FAE275D7}"/>
          </ac:cxnSpMkLst>
        </pc:cxnChg>
        <pc:cxnChg chg="mod">
          <ac:chgData name="Sholderer, Olga" userId="e2c1dea8-b971-43c0-be57-c12a42680f03" providerId="ADAL" clId="{CE1E9B20-4A24-48FC-AAF1-4A39366449BB}" dt="2020-06-07T10:37:06.896" v="1352" actId="2085"/>
          <ac:cxnSpMkLst>
            <pc:docMk/>
            <pc:sldMk cId="2204833697" sldId="274"/>
            <ac:cxnSpMk id="86" creationId="{BC14C652-1DF5-4B5A-9FFD-700EE431C8CB}"/>
          </ac:cxnSpMkLst>
        </pc:cxnChg>
      </pc:sldChg>
      <pc:sldChg chg="addSp delSp modSp add">
        <pc:chgData name="Sholderer, Olga" userId="e2c1dea8-b971-43c0-be57-c12a42680f03" providerId="ADAL" clId="{CE1E9B20-4A24-48FC-AAF1-4A39366449BB}" dt="2020-06-07T11:49:24.620" v="2941"/>
        <pc:sldMkLst>
          <pc:docMk/>
          <pc:sldMk cId="2290077066" sldId="275"/>
        </pc:sldMkLst>
        <pc:spChg chg="mod">
          <ac:chgData name="Sholderer, Olga" userId="e2c1dea8-b971-43c0-be57-c12a42680f03" providerId="ADAL" clId="{CE1E9B20-4A24-48FC-AAF1-4A39366449BB}" dt="2020-06-07T11:49:24.093" v="2939" actId="20577"/>
          <ac:spMkLst>
            <pc:docMk/>
            <pc:sldMk cId="2290077066" sldId="275"/>
            <ac:spMk id="2" creationId="{35CC34CE-7C88-4AAE-9E1A-D9E939BFF774}"/>
          </ac:spMkLst>
        </pc:spChg>
        <pc:spChg chg="mod">
          <ac:chgData name="Sholderer, Olga" userId="e2c1dea8-b971-43c0-be57-c12a42680f03" providerId="ADAL" clId="{CE1E9B20-4A24-48FC-AAF1-4A39366449BB}" dt="2020-06-07T11:49:11.092" v="2896" actId="6549"/>
          <ac:spMkLst>
            <pc:docMk/>
            <pc:sldMk cId="2290077066" sldId="275"/>
            <ac:spMk id="4" creationId="{D2B79477-D497-4AD4-A885-EA537C2DE326}"/>
          </ac:spMkLst>
        </pc:spChg>
        <pc:spChg chg="add mod">
          <ac:chgData name="Sholderer, Olga" userId="e2c1dea8-b971-43c0-be57-c12a42680f03" providerId="ADAL" clId="{CE1E9B20-4A24-48FC-AAF1-4A39366449BB}" dt="2020-06-07T11:44:34.857" v="2838" actId="478"/>
          <ac:spMkLst>
            <pc:docMk/>
            <pc:sldMk cId="2290077066" sldId="275"/>
            <ac:spMk id="14" creationId="{E58EC8CA-93C7-4DE7-9639-858C75081E29}"/>
          </ac:spMkLst>
        </pc:spChg>
        <pc:spChg chg="add mod">
          <ac:chgData name="Sholderer, Olga" userId="e2c1dea8-b971-43c0-be57-c12a42680f03" providerId="ADAL" clId="{CE1E9B20-4A24-48FC-AAF1-4A39366449BB}" dt="2020-06-07T11:45:27.067" v="2849" actId="1076"/>
          <ac:spMkLst>
            <pc:docMk/>
            <pc:sldMk cId="2290077066" sldId="275"/>
            <ac:spMk id="16" creationId="{14A61971-BCD2-44D6-85BF-235F6E379C87}"/>
          </ac:spMkLst>
        </pc:spChg>
        <pc:spChg chg="add mod">
          <ac:chgData name="Sholderer, Olga" userId="e2c1dea8-b971-43c0-be57-c12a42680f03" providerId="ADAL" clId="{CE1E9B20-4A24-48FC-AAF1-4A39366449BB}" dt="2020-06-07T11:45:40.339" v="2852" actId="1076"/>
          <ac:spMkLst>
            <pc:docMk/>
            <pc:sldMk cId="2290077066" sldId="275"/>
            <ac:spMk id="17" creationId="{AE289BD9-77C8-403B-91B8-4E703A0CE191}"/>
          </ac:spMkLst>
        </pc:spChg>
        <pc:spChg chg="add mod">
          <ac:chgData name="Sholderer, Olga" userId="e2c1dea8-b971-43c0-be57-c12a42680f03" providerId="ADAL" clId="{CE1E9B20-4A24-48FC-AAF1-4A39366449BB}" dt="2020-06-07T11:47:48.819" v="2856" actId="1076"/>
          <ac:spMkLst>
            <pc:docMk/>
            <pc:sldMk cId="2290077066" sldId="275"/>
            <ac:spMk id="19" creationId="{ABAA63B7-5433-4DAF-A52E-ED3BD9C4AF99}"/>
          </ac:spMkLst>
        </pc:spChg>
        <pc:spChg chg="add mod">
          <ac:chgData name="Sholderer, Olga" userId="e2c1dea8-b971-43c0-be57-c12a42680f03" providerId="ADAL" clId="{CE1E9B20-4A24-48FC-AAF1-4A39366449BB}" dt="2020-06-07T11:48:17.641" v="2861" actId="1582"/>
          <ac:spMkLst>
            <pc:docMk/>
            <pc:sldMk cId="2290077066" sldId="275"/>
            <ac:spMk id="20" creationId="{2C4BC651-D766-4C4C-89A9-8010663A426E}"/>
          </ac:spMkLst>
        </pc:spChg>
        <pc:spChg chg="add mod">
          <ac:chgData name="Sholderer, Olga" userId="e2c1dea8-b971-43c0-be57-c12a42680f03" providerId="ADAL" clId="{CE1E9B20-4A24-48FC-AAF1-4A39366449BB}" dt="2020-06-07T11:48:36.643" v="2868" actId="1076"/>
          <ac:spMkLst>
            <pc:docMk/>
            <pc:sldMk cId="2290077066" sldId="275"/>
            <ac:spMk id="21" creationId="{8FB14971-A66D-45EC-BD55-A442DC0B8C54}"/>
          </ac:spMkLst>
        </pc:spChg>
        <pc:spChg chg="add mod">
          <ac:chgData name="Sholderer, Olga" userId="e2c1dea8-b971-43c0-be57-c12a42680f03" providerId="ADAL" clId="{CE1E9B20-4A24-48FC-AAF1-4A39366449BB}" dt="2020-06-07T11:48:43.812" v="2870" actId="1076"/>
          <ac:spMkLst>
            <pc:docMk/>
            <pc:sldMk cId="2290077066" sldId="275"/>
            <ac:spMk id="22" creationId="{EC8FDF87-EE4F-481B-9EF8-CB2D92EFF141}"/>
          </ac:spMkLst>
        </pc:spChg>
        <pc:graphicFrameChg chg="mod">
          <ac:chgData name="Sholderer, Olga" userId="e2c1dea8-b971-43c0-be57-c12a42680f03" providerId="ADAL" clId="{CE1E9B20-4A24-48FC-AAF1-4A39366449BB}" dt="2020-06-07T11:49:24.620" v="2941"/>
          <ac:graphicFrameMkLst>
            <pc:docMk/>
            <pc:sldMk cId="2290077066" sldId="275"/>
            <ac:graphicFrameMk id="5" creationId="{5ACABAAC-7BE0-4329-B478-60137B939D69}"/>
          </ac:graphicFrameMkLst>
        </pc:graphicFrameChg>
        <pc:picChg chg="del">
          <ac:chgData name="Sholderer, Olga" userId="e2c1dea8-b971-43c0-be57-c12a42680f03" providerId="ADAL" clId="{CE1E9B20-4A24-48FC-AAF1-4A39366449BB}" dt="2020-06-07T11:44:34.857" v="2838" actId="478"/>
          <ac:picMkLst>
            <pc:docMk/>
            <pc:sldMk cId="2290077066" sldId="275"/>
            <ac:picMk id="6" creationId="{01363B8E-022B-4C54-A1B1-EDAD6EE323BE}"/>
          </ac:picMkLst>
        </pc:picChg>
        <pc:picChg chg="del">
          <ac:chgData name="Sholderer, Olga" userId="e2c1dea8-b971-43c0-be57-c12a42680f03" providerId="ADAL" clId="{CE1E9B20-4A24-48FC-AAF1-4A39366449BB}" dt="2020-06-07T11:44:33.151" v="2837" actId="478"/>
          <ac:picMkLst>
            <pc:docMk/>
            <pc:sldMk cId="2290077066" sldId="275"/>
            <ac:picMk id="7" creationId="{0633026F-60AA-4919-869D-561D9BB09E04}"/>
          </ac:picMkLst>
        </pc:picChg>
        <pc:picChg chg="add mod">
          <ac:chgData name="Sholderer, Olga" userId="e2c1dea8-b971-43c0-be57-c12a42680f03" providerId="ADAL" clId="{CE1E9B20-4A24-48FC-AAF1-4A39366449BB}" dt="2020-06-07T11:48:34.517" v="2867" actId="1076"/>
          <ac:picMkLst>
            <pc:docMk/>
            <pc:sldMk cId="2290077066" sldId="275"/>
            <ac:picMk id="15" creationId="{1181BCFC-70FA-4384-9B5B-734D11BB3C8F}"/>
          </ac:picMkLst>
        </pc:picChg>
        <pc:picChg chg="add mod">
          <ac:chgData name="Sholderer, Olga" userId="e2c1dea8-b971-43c0-be57-c12a42680f03" providerId="ADAL" clId="{CE1E9B20-4A24-48FC-AAF1-4A39366449BB}" dt="2020-06-07T11:47:42.582" v="2854" actId="1076"/>
          <ac:picMkLst>
            <pc:docMk/>
            <pc:sldMk cId="2290077066" sldId="275"/>
            <ac:picMk id="18" creationId="{08AD167F-B6A4-4C69-ADC9-0D1AB968E24A}"/>
          </ac:picMkLst>
        </pc:picChg>
      </pc:sldChg>
      <pc:sldChg chg="add del">
        <pc:chgData name="Sholderer, Olga" userId="e2c1dea8-b971-43c0-be57-c12a42680f03" providerId="ADAL" clId="{CE1E9B20-4A24-48FC-AAF1-4A39366449BB}" dt="2020-06-07T11:49:30.746" v="2942" actId="2696"/>
        <pc:sldMkLst>
          <pc:docMk/>
          <pc:sldMk cId="565506187" sldId="276"/>
        </pc:sldMkLst>
      </pc:sldChg>
      <pc:sldChg chg="delSp modSp add">
        <pc:chgData name="Sholderer, Olga" userId="e2c1dea8-b971-43c0-be57-c12a42680f03" providerId="ADAL" clId="{CE1E9B20-4A24-48FC-AAF1-4A39366449BB}" dt="2020-06-10T06:47:41.482" v="3204" actId="20577"/>
        <pc:sldMkLst>
          <pc:docMk/>
          <pc:sldMk cId="2638342474" sldId="276"/>
        </pc:sldMkLst>
        <pc:spChg chg="mod">
          <ac:chgData name="Sholderer, Olga" userId="e2c1dea8-b971-43c0-be57-c12a42680f03" providerId="ADAL" clId="{CE1E9B20-4A24-48FC-AAF1-4A39366449BB}" dt="2020-06-07T11:52:31.034" v="3022" actId="108"/>
          <ac:spMkLst>
            <pc:docMk/>
            <pc:sldMk cId="2638342474" sldId="276"/>
            <ac:spMk id="2" creationId="{F9621459-77E7-4D78-B15C-EE30C6DDCFC0}"/>
          </ac:spMkLst>
        </pc:spChg>
        <pc:spChg chg="mod">
          <ac:chgData name="Sholderer, Olga" userId="e2c1dea8-b971-43c0-be57-c12a42680f03" providerId="ADAL" clId="{CE1E9B20-4A24-48FC-AAF1-4A39366449BB}" dt="2020-06-10T06:47:41.482" v="3204" actId="20577"/>
          <ac:spMkLst>
            <pc:docMk/>
            <pc:sldMk cId="2638342474" sldId="276"/>
            <ac:spMk id="3" creationId="{EE719EA8-1725-4E13-84C2-F065E45FB5F9}"/>
          </ac:spMkLst>
        </pc:spChg>
        <pc:spChg chg="mod">
          <ac:chgData name="Sholderer, Olga" userId="e2c1dea8-b971-43c0-be57-c12a42680f03" providerId="ADAL" clId="{CE1E9B20-4A24-48FC-AAF1-4A39366449BB}" dt="2020-06-07T11:52:31.557" v="3033" actId="6549"/>
          <ac:spMkLst>
            <pc:docMk/>
            <pc:sldMk cId="2638342474" sldId="276"/>
            <ac:spMk id="5" creationId="{69F4F609-C8BF-4820-B00C-5EF11B11F336}"/>
          </ac:spMkLst>
        </pc:spChg>
        <pc:spChg chg="del">
          <ac:chgData name="Sholderer, Olga" userId="e2c1dea8-b971-43c0-be57-c12a42680f03" providerId="ADAL" clId="{CE1E9B20-4A24-48FC-AAF1-4A39366449BB}" dt="2020-06-07T11:54:12.606" v="3106" actId="478"/>
          <ac:spMkLst>
            <pc:docMk/>
            <pc:sldMk cId="2638342474" sldId="276"/>
            <ac:spMk id="11" creationId="{D96AFDF6-48C4-4F16-ADDB-3CCF10B16598}"/>
          </ac:spMkLst>
        </pc:spChg>
        <pc:grpChg chg="del mod">
          <ac:chgData name="Sholderer, Olga" userId="e2c1dea8-b971-43c0-be57-c12a42680f03" providerId="ADAL" clId="{CE1E9B20-4A24-48FC-AAF1-4A39366449BB}" dt="2020-06-07T11:54:14.956" v="3107" actId="478"/>
          <ac:grpSpMkLst>
            <pc:docMk/>
            <pc:sldMk cId="2638342474" sldId="276"/>
            <ac:grpSpMk id="7" creationId="{204F9907-2742-4110-B247-D67289C548AA}"/>
          </ac:grpSpMkLst>
        </pc:grpChg>
        <pc:graphicFrameChg chg="mod">
          <ac:chgData name="Sholderer, Olga" userId="e2c1dea8-b971-43c0-be57-c12a42680f03" providerId="ADAL" clId="{CE1E9B20-4A24-48FC-AAF1-4A39366449BB}" dt="2020-06-07T11:52:31.562" v="3035"/>
          <ac:graphicFrameMkLst>
            <pc:docMk/>
            <pc:sldMk cId="2638342474" sldId="276"/>
            <ac:graphicFrameMk id="4" creationId="{5103CC1D-37AB-43AD-89BE-C70455949B86}"/>
          </ac:graphicFrameMkLst>
        </pc:graphicFrameChg>
      </pc:sldChg>
      <pc:sldMasterChg chg="delSldLayout modSldLayout">
        <pc:chgData name="Sholderer, Olga" userId="e2c1dea8-b971-43c0-be57-c12a42680f03" providerId="ADAL" clId="{CE1E9B20-4A24-48FC-AAF1-4A39366449BB}" dt="2020-06-07T11:04:25.054" v="1397" actId="2696"/>
        <pc:sldMasterMkLst>
          <pc:docMk/>
          <pc:sldMasterMk cId="1020224455" sldId="2147483648"/>
        </pc:sldMasterMkLst>
        <pc:sldLayoutChg chg="addSp modSp">
          <pc:chgData name="Sholderer, Olga" userId="e2c1dea8-b971-43c0-be57-c12a42680f03" providerId="ADAL" clId="{CE1E9B20-4A24-48FC-AAF1-4A39366449BB}" dt="2020-05-30T08:39:06.511" v="786" actId="1076"/>
          <pc:sldLayoutMkLst>
            <pc:docMk/>
            <pc:sldMasterMk cId="1020224455" sldId="2147483648"/>
            <pc:sldLayoutMk cId="1722401912" sldId="2147483649"/>
          </pc:sldLayoutMkLst>
          <pc:picChg chg="add mod">
            <ac:chgData name="Sholderer, Olga" userId="e2c1dea8-b971-43c0-be57-c12a42680f03" providerId="ADAL" clId="{CE1E9B20-4A24-48FC-AAF1-4A39366449BB}" dt="2020-05-30T08:37:49.896" v="776" actId="1076"/>
            <ac:picMkLst>
              <pc:docMk/>
              <pc:sldMasterMk cId="1020224455" sldId="2147483648"/>
              <pc:sldLayoutMk cId="1722401912" sldId="2147483649"/>
              <ac:picMk id="8" creationId="{AF552E79-0B60-46C2-A387-DBCDC461AE4F}"/>
            </ac:picMkLst>
          </pc:picChg>
          <pc:picChg chg="add mod">
            <ac:chgData name="Sholderer, Olga" userId="e2c1dea8-b971-43c0-be57-c12a42680f03" providerId="ADAL" clId="{CE1E9B20-4A24-48FC-AAF1-4A39366449BB}" dt="2020-05-30T08:39:06.511" v="786" actId="1076"/>
            <ac:picMkLst>
              <pc:docMk/>
              <pc:sldMasterMk cId="1020224455" sldId="2147483648"/>
              <pc:sldLayoutMk cId="1722401912" sldId="2147483649"/>
              <ac:picMk id="10" creationId="{D68F957D-596C-4E8B-B917-F9130182018C}"/>
            </ac:picMkLst>
          </pc:picChg>
        </pc:sldLayoutChg>
        <pc:sldLayoutChg chg="addSp delSp modSp">
          <pc:chgData name="Sholderer, Olga" userId="e2c1dea8-b971-43c0-be57-c12a42680f03" providerId="ADAL" clId="{CE1E9B20-4A24-48FC-AAF1-4A39366449BB}" dt="2020-05-30T08:39:22.630" v="789"/>
          <pc:sldLayoutMkLst>
            <pc:docMk/>
            <pc:sldMasterMk cId="1020224455" sldId="2147483648"/>
            <pc:sldLayoutMk cId="3790851469" sldId="2147483650"/>
          </pc:sldLayoutMkLst>
          <pc:picChg chg="add del mod">
            <ac:chgData name="Sholderer, Olga" userId="e2c1dea8-b971-43c0-be57-c12a42680f03" providerId="ADAL" clId="{CE1E9B20-4A24-48FC-AAF1-4A39366449BB}" dt="2020-05-30T08:39:16.500" v="788" actId="931"/>
            <ac:picMkLst>
              <pc:docMk/>
              <pc:sldMasterMk cId="1020224455" sldId="2147483648"/>
              <pc:sldLayoutMk cId="3790851469" sldId="2147483650"/>
              <ac:picMk id="8" creationId="{D683A256-14A3-474A-A1B1-1EB334073F0F}"/>
            </ac:picMkLst>
          </pc:picChg>
          <pc:picChg chg="add">
            <ac:chgData name="Sholderer, Olga" userId="e2c1dea8-b971-43c0-be57-c12a42680f03" providerId="ADAL" clId="{CE1E9B20-4A24-48FC-AAF1-4A39366449BB}" dt="2020-05-30T08:39:22.630" v="789"/>
            <ac:picMkLst>
              <pc:docMk/>
              <pc:sldMasterMk cId="1020224455" sldId="2147483648"/>
              <pc:sldLayoutMk cId="3790851469" sldId="2147483650"/>
              <ac:picMk id="9" creationId="{D44DC5E5-BEE4-4947-A970-5ECF5B4830BA}"/>
            </ac:picMkLst>
          </pc:picChg>
          <pc:picChg chg="add">
            <ac:chgData name="Sholderer, Olga" userId="e2c1dea8-b971-43c0-be57-c12a42680f03" providerId="ADAL" clId="{CE1E9B20-4A24-48FC-AAF1-4A39366449BB}" dt="2020-05-30T08:39:22.630" v="789"/>
            <ac:picMkLst>
              <pc:docMk/>
              <pc:sldMasterMk cId="1020224455" sldId="2147483648"/>
              <pc:sldLayoutMk cId="3790851469" sldId="2147483650"/>
              <ac:picMk id="10" creationId="{069D994C-58D3-4117-907C-B1AEE5D605E8}"/>
            </ac:picMkLst>
          </pc:picChg>
        </pc:sldLayoutChg>
        <pc:sldLayoutChg chg="addSp">
          <pc:chgData name="Sholderer, Olga" userId="e2c1dea8-b971-43c0-be57-c12a42680f03" providerId="ADAL" clId="{CE1E9B20-4A24-48FC-AAF1-4A39366449BB}" dt="2020-05-30T08:39:26.092" v="791"/>
          <pc:sldLayoutMkLst>
            <pc:docMk/>
            <pc:sldMasterMk cId="1020224455" sldId="2147483648"/>
            <pc:sldLayoutMk cId="1746785207" sldId="2147483651"/>
          </pc:sldLayoutMkLst>
          <pc:picChg chg="add">
            <ac:chgData name="Sholderer, Olga" userId="e2c1dea8-b971-43c0-be57-c12a42680f03" providerId="ADAL" clId="{CE1E9B20-4A24-48FC-AAF1-4A39366449BB}" dt="2020-05-30T08:39:24.690" v="790"/>
            <ac:picMkLst>
              <pc:docMk/>
              <pc:sldMasterMk cId="1020224455" sldId="2147483648"/>
              <pc:sldLayoutMk cId="1746785207" sldId="2147483651"/>
              <ac:picMk id="7" creationId="{530083EB-D91D-482F-9C25-975402031745}"/>
            </ac:picMkLst>
          </pc:picChg>
          <pc:picChg chg="add">
            <ac:chgData name="Sholderer, Olga" userId="e2c1dea8-b971-43c0-be57-c12a42680f03" providerId="ADAL" clId="{CE1E9B20-4A24-48FC-AAF1-4A39366449BB}" dt="2020-05-30T08:39:24.690" v="790"/>
            <ac:picMkLst>
              <pc:docMk/>
              <pc:sldMasterMk cId="1020224455" sldId="2147483648"/>
              <pc:sldLayoutMk cId="1746785207" sldId="2147483651"/>
              <ac:picMk id="8" creationId="{7124EF24-CCFF-4E6F-9870-6FB42ED0D4BC}"/>
            </ac:picMkLst>
          </pc:picChg>
          <pc:picChg chg="add">
            <ac:chgData name="Sholderer, Olga" userId="e2c1dea8-b971-43c0-be57-c12a42680f03" providerId="ADAL" clId="{CE1E9B20-4A24-48FC-AAF1-4A39366449BB}" dt="2020-05-30T08:39:26.092" v="791"/>
            <ac:picMkLst>
              <pc:docMk/>
              <pc:sldMasterMk cId="1020224455" sldId="2147483648"/>
              <pc:sldLayoutMk cId="1746785207" sldId="2147483651"/>
              <ac:picMk id="9" creationId="{A77A2605-0E49-45A4-A465-F30DBB2B203A}"/>
            </ac:picMkLst>
          </pc:picChg>
          <pc:picChg chg="add">
            <ac:chgData name="Sholderer, Olga" userId="e2c1dea8-b971-43c0-be57-c12a42680f03" providerId="ADAL" clId="{CE1E9B20-4A24-48FC-AAF1-4A39366449BB}" dt="2020-05-30T08:39:26.092" v="791"/>
            <ac:picMkLst>
              <pc:docMk/>
              <pc:sldMasterMk cId="1020224455" sldId="2147483648"/>
              <pc:sldLayoutMk cId="1746785207" sldId="2147483651"/>
              <ac:picMk id="10" creationId="{4FED3D26-E67A-45D7-BD53-DD9EB7685A98}"/>
            </ac:picMkLst>
          </pc:picChg>
        </pc:sldLayoutChg>
        <pc:sldLayoutChg chg="addSp">
          <pc:chgData name="Sholderer, Olga" userId="e2c1dea8-b971-43c0-be57-c12a42680f03" providerId="ADAL" clId="{CE1E9B20-4A24-48FC-AAF1-4A39366449BB}" dt="2020-05-30T08:39:29.469" v="792"/>
          <pc:sldLayoutMkLst>
            <pc:docMk/>
            <pc:sldMasterMk cId="1020224455" sldId="2147483648"/>
            <pc:sldLayoutMk cId="2277961346" sldId="2147483652"/>
          </pc:sldLayoutMkLst>
          <pc:picChg chg="add">
            <ac:chgData name="Sholderer, Olga" userId="e2c1dea8-b971-43c0-be57-c12a42680f03" providerId="ADAL" clId="{CE1E9B20-4A24-48FC-AAF1-4A39366449BB}" dt="2020-05-30T08:39:29.469" v="792"/>
            <ac:picMkLst>
              <pc:docMk/>
              <pc:sldMasterMk cId="1020224455" sldId="2147483648"/>
              <pc:sldLayoutMk cId="2277961346" sldId="2147483652"/>
              <ac:picMk id="8" creationId="{A41EACC7-7E70-4C84-AF28-41619253A474}"/>
            </ac:picMkLst>
          </pc:picChg>
          <pc:picChg chg="add">
            <ac:chgData name="Sholderer, Olga" userId="e2c1dea8-b971-43c0-be57-c12a42680f03" providerId="ADAL" clId="{CE1E9B20-4A24-48FC-AAF1-4A39366449BB}" dt="2020-05-30T08:39:29.469" v="792"/>
            <ac:picMkLst>
              <pc:docMk/>
              <pc:sldMasterMk cId="1020224455" sldId="2147483648"/>
              <pc:sldLayoutMk cId="2277961346" sldId="2147483652"/>
              <ac:picMk id="9" creationId="{B71DAE54-26B3-4C41-A1B5-E7BDF56A90E6}"/>
            </ac:picMkLst>
          </pc:picChg>
        </pc:sldLayoutChg>
        <pc:sldLayoutChg chg="addSp">
          <pc:chgData name="Sholderer, Olga" userId="e2c1dea8-b971-43c0-be57-c12a42680f03" providerId="ADAL" clId="{CE1E9B20-4A24-48FC-AAF1-4A39366449BB}" dt="2020-05-30T08:39:30.934" v="793"/>
          <pc:sldLayoutMkLst>
            <pc:docMk/>
            <pc:sldMasterMk cId="1020224455" sldId="2147483648"/>
            <pc:sldLayoutMk cId="1029559243" sldId="2147483653"/>
          </pc:sldLayoutMkLst>
          <pc:picChg chg="add">
            <ac:chgData name="Sholderer, Olga" userId="e2c1dea8-b971-43c0-be57-c12a42680f03" providerId="ADAL" clId="{CE1E9B20-4A24-48FC-AAF1-4A39366449BB}" dt="2020-05-30T08:39:30.934" v="793"/>
            <ac:picMkLst>
              <pc:docMk/>
              <pc:sldMasterMk cId="1020224455" sldId="2147483648"/>
              <pc:sldLayoutMk cId="1029559243" sldId="2147483653"/>
              <ac:picMk id="10" creationId="{84F1F7D7-43C8-4632-9ECD-DB7FE7DBFC63}"/>
            </ac:picMkLst>
          </pc:picChg>
          <pc:picChg chg="add">
            <ac:chgData name="Sholderer, Olga" userId="e2c1dea8-b971-43c0-be57-c12a42680f03" providerId="ADAL" clId="{CE1E9B20-4A24-48FC-AAF1-4A39366449BB}" dt="2020-05-30T08:39:30.934" v="793"/>
            <ac:picMkLst>
              <pc:docMk/>
              <pc:sldMasterMk cId="1020224455" sldId="2147483648"/>
              <pc:sldLayoutMk cId="1029559243" sldId="2147483653"/>
              <ac:picMk id="11" creationId="{C9576587-CEC9-4313-839E-75C0ABE1DD38}"/>
            </ac:picMkLst>
          </pc:picChg>
        </pc:sldLayoutChg>
        <pc:sldLayoutChg chg="addSp">
          <pc:chgData name="Sholderer, Olga" userId="e2c1dea8-b971-43c0-be57-c12a42680f03" providerId="ADAL" clId="{CE1E9B20-4A24-48FC-AAF1-4A39366449BB}" dt="2020-05-30T08:39:32.330" v="794"/>
          <pc:sldLayoutMkLst>
            <pc:docMk/>
            <pc:sldMasterMk cId="1020224455" sldId="2147483648"/>
            <pc:sldLayoutMk cId="1794655614" sldId="2147483654"/>
          </pc:sldLayoutMkLst>
          <pc:picChg chg="add">
            <ac:chgData name="Sholderer, Olga" userId="e2c1dea8-b971-43c0-be57-c12a42680f03" providerId="ADAL" clId="{CE1E9B20-4A24-48FC-AAF1-4A39366449BB}" dt="2020-05-30T08:39:32.330" v="794"/>
            <ac:picMkLst>
              <pc:docMk/>
              <pc:sldMasterMk cId="1020224455" sldId="2147483648"/>
              <pc:sldLayoutMk cId="1794655614" sldId="2147483654"/>
              <ac:picMk id="6" creationId="{B43D44C1-D17B-4B4A-B341-7401511FFE08}"/>
            </ac:picMkLst>
          </pc:picChg>
          <pc:picChg chg="add">
            <ac:chgData name="Sholderer, Olga" userId="e2c1dea8-b971-43c0-be57-c12a42680f03" providerId="ADAL" clId="{CE1E9B20-4A24-48FC-AAF1-4A39366449BB}" dt="2020-05-30T08:39:32.330" v="794"/>
            <ac:picMkLst>
              <pc:docMk/>
              <pc:sldMasterMk cId="1020224455" sldId="2147483648"/>
              <pc:sldLayoutMk cId="1794655614" sldId="2147483654"/>
              <ac:picMk id="7" creationId="{7DB30CDF-4D31-4BA3-8C87-3A9FF734D7E8}"/>
            </ac:picMkLst>
          </pc:picChg>
        </pc:sldLayoutChg>
        <pc:sldLayoutChg chg="addSp">
          <pc:chgData name="Sholderer, Olga" userId="e2c1dea8-b971-43c0-be57-c12a42680f03" providerId="ADAL" clId="{CE1E9B20-4A24-48FC-AAF1-4A39366449BB}" dt="2020-05-30T08:39:35.712" v="795"/>
          <pc:sldLayoutMkLst>
            <pc:docMk/>
            <pc:sldMasterMk cId="1020224455" sldId="2147483648"/>
            <pc:sldLayoutMk cId="4125051387" sldId="2147483655"/>
          </pc:sldLayoutMkLst>
          <pc:picChg chg="add">
            <ac:chgData name="Sholderer, Olga" userId="e2c1dea8-b971-43c0-be57-c12a42680f03" providerId="ADAL" clId="{CE1E9B20-4A24-48FC-AAF1-4A39366449BB}" dt="2020-05-30T08:39:35.712" v="795"/>
            <ac:picMkLst>
              <pc:docMk/>
              <pc:sldMasterMk cId="1020224455" sldId="2147483648"/>
              <pc:sldLayoutMk cId="4125051387" sldId="2147483655"/>
              <ac:picMk id="5" creationId="{DE499380-E53C-4249-9ED7-34F0C89A53AA}"/>
            </ac:picMkLst>
          </pc:picChg>
          <pc:picChg chg="add">
            <ac:chgData name="Sholderer, Olga" userId="e2c1dea8-b971-43c0-be57-c12a42680f03" providerId="ADAL" clId="{CE1E9B20-4A24-48FC-AAF1-4A39366449BB}" dt="2020-05-30T08:39:35.712" v="795"/>
            <ac:picMkLst>
              <pc:docMk/>
              <pc:sldMasterMk cId="1020224455" sldId="2147483648"/>
              <pc:sldLayoutMk cId="4125051387" sldId="2147483655"/>
              <ac:picMk id="6" creationId="{B218D88F-4DFB-4201-B147-9C9E0DE33828}"/>
            </ac:picMkLst>
          </pc:picChg>
        </pc:sldLayoutChg>
        <pc:sldLayoutChg chg="addSp">
          <pc:chgData name="Sholderer, Olga" userId="e2c1dea8-b971-43c0-be57-c12a42680f03" providerId="ADAL" clId="{CE1E9B20-4A24-48FC-AAF1-4A39366449BB}" dt="2020-05-30T08:39:37.248" v="796"/>
          <pc:sldLayoutMkLst>
            <pc:docMk/>
            <pc:sldMasterMk cId="1020224455" sldId="2147483648"/>
            <pc:sldLayoutMk cId="3008274221" sldId="2147483656"/>
          </pc:sldLayoutMkLst>
          <pc:picChg chg="add">
            <ac:chgData name="Sholderer, Olga" userId="e2c1dea8-b971-43c0-be57-c12a42680f03" providerId="ADAL" clId="{CE1E9B20-4A24-48FC-AAF1-4A39366449BB}" dt="2020-05-30T08:39:37.248" v="796"/>
            <ac:picMkLst>
              <pc:docMk/>
              <pc:sldMasterMk cId="1020224455" sldId="2147483648"/>
              <pc:sldLayoutMk cId="3008274221" sldId="2147483656"/>
              <ac:picMk id="8" creationId="{EAB2D319-B33D-4BA0-BB0C-38137BAEAAC9}"/>
            </ac:picMkLst>
          </pc:picChg>
          <pc:picChg chg="add">
            <ac:chgData name="Sholderer, Olga" userId="e2c1dea8-b971-43c0-be57-c12a42680f03" providerId="ADAL" clId="{CE1E9B20-4A24-48FC-AAF1-4A39366449BB}" dt="2020-05-30T08:39:37.248" v="796"/>
            <ac:picMkLst>
              <pc:docMk/>
              <pc:sldMasterMk cId="1020224455" sldId="2147483648"/>
              <pc:sldLayoutMk cId="3008274221" sldId="2147483656"/>
              <ac:picMk id="9" creationId="{83DDF3D4-1442-4180-B747-7AFBC0C18E3C}"/>
            </ac:picMkLst>
          </pc:picChg>
        </pc:sldLayoutChg>
        <pc:sldLayoutChg chg="addSp">
          <pc:chgData name="Sholderer, Olga" userId="e2c1dea8-b971-43c0-be57-c12a42680f03" providerId="ADAL" clId="{CE1E9B20-4A24-48FC-AAF1-4A39366449BB}" dt="2020-05-30T08:39:38.620" v="797"/>
          <pc:sldLayoutMkLst>
            <pc:docMk/>
            <pc:sldMasterMk cId="1020224455" sldId="2147483648"/>
            <pc:sldLayoutMk cId="658035103" sldId="2147483657"/>
          </pc:sldLayoutMkLst>
          <pc:picChg chg="add">
            <ac:chgData name="Sholderer, Olga" userId="e2c1dea8-b971-43c0-be57-c12a42680f03" providerId="ADAL" clId="{CE1E9B20-4A24-48FC-AAF1-4A39366449BB}" dt="2020-05-30T08:39:38.620" v="797"/>
            <ac:picMkLst>
              <pc:docMk/>
              <pc:sldMasterMk cId="1020224455" sldId="2147483648"/>
              <pc:sldLayoutMk cId="658035103" sldId="2147483657"/>
              <ac:picMk id="8" creationId="{C05A1201-7EC8-4C78-A353-2A1208250D58}"/>
            </ac:picMkLst>
          </pc:picChg>
          <pc:picChg chg="add">
            <ac:chgData name="Sholderer, Olga" userId="e2c1dea8-b971-43c0-be57-c12a42680f03" providerId="ADAL" clId="{CE1E9B20-4A24-48FC-AAF1-4A39366449BB}" dt="2020-05-30T08:39:38.620" v="797"/>
            <ac:picMkLst>
              <pc:docMk/>
              <pc:sldMasterMk cId="1020224455" sldId="2147483648"/>
              <pc:sldLayoutMk cId="658035103" sldId="2147483657"/>
              <ac:picMk id="9" creationId="{7D10A326-9E12-43C4-B280-9694500FEDE2}"/>
            </ac:picMkLst>
          </pc:picChg>
        </pc:sldLayoutChg>
        <pc:sldLayoutChg chg="del">
          <pc:chgData name="Sholderer, Olga" userId="e2c1dea8-b971-43c0-be57-c12a42680f03" providerId="ADAL" clId="{CE1E9B20-4A24-48FC-AAF1-4A39366449BB}" dt="2020-06-07T11:04:25.054" v="1397" actId="2696"/>
          <pc:sldLayoutMkLst>
            <pc:docMk/>
            <pc:sldMasterMk cId="1020224455" sldId="2147483648"/>
            <pc:sldLayoutMk cId="1963233085" sldId="214748366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7DA541-CF83-4097-8644-3EF98D4356AF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349B53-7D3D-4C0D-AB49-172B73CD18C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06720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95FF6-465C-482C-BF7A-A209DCBD2D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139FBA-B8DB-478D-B8B7-BD8C9EE8C6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07DB3-A12A-45A7-9A46-A640AF5CEF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E3CA5-D4DC-45B6-B960-C635CDEA4CC8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4AD619-4B21-42A3-B877-1D7A23A73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993293-F633-4F0C-9940-84CFBBB55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5D578-961B-4EC3-8E7A-463869F3BB58}" type="slidenum">
              <a:rPr lang="nl-NL" smtClean="0"/>
              <a:t>‹#›</a:t>
            </a:fld>
            <a:endParaRPr lang="nl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F552E79-0B60-46C2-A387-DBCDC461AE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2540"/>
            <a:ext cx="12192000" cy="785460"/>
          </a:xfrm>
          <a:prstGeom prst="rect">
            <a:avLst/>
          </a:prstGeom>
        </p:spPr>
      </p:pic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D68F957D-596C-4E8B-B917-F91301820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4032" y="4862534"/>
            <a:ext cx="2318382" cy="865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4019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FA9B11-451A-43F7-9930-AA33E5E56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044B46-284C-45A9-BF49-BAA42C4C62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7EDC29-E4E7-434C-A914-777AB2212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E3CA5-D4DC-45B6-B960-C635CDEA4CC8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5B89A7-74B2-47B6-AA57-2CF3521EC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490E6E-E8E2-4255-A142-DC182F9B4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5D578-961B-4EC3-8E7A-463869F3BB5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999155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D6CA399-4313-46B0-860E-673E017DDE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971F854-4ABF-4974-878A-F16293C043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E24367-CEEA-45B4-A9D3-24D5E0E074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E3CA5-D4DC-45B6-B960-C635CDEA4CC8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5AB2E2-B14C-499D-80F1-6B38542F5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10AF1D-9CAA-4EE4-ACF1-D9E344378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5D578-961B-4EC3-8E7A-463869F3BB5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613468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0BD83-5545-4F9E-87D9-E712127F3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C86B61-9986-4208-9C42-BC64D39175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4A896E-2BDF-423B-950D-068743D0EF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E3CA5-D4DC-45B6-B960-C635CDEA4CC8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966279-5634-4095-9ACD-A32B63389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041270-B5DF-4D43-8ED8-6B8516664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5D578-961B-4EC3-8E7A-463869F3BB58}" type="slidenum">
              <a:rPr lang="nl-NL" smtClean="0"/>
              <a:t>‹#›</a:t>
            </a:fld>
            <a:endParaRPr lang="nl-NL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4DC5E5-BEE4-4947-A970-5ECF5B4830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2540"/>
            <a:ext cx="12192000" cy="785460"/>
          </a:xfrm>
          <a:prstGeom prst="rect">
            <a:avLst/>
          </a:prstGeom>
        </p:spPr>
      </p:pic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069D994C-58D3-4117-907C-B1AEE5D605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4032" y="4862534"/>
            <a:ext cx="2318382" cy="865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851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6802C0-2D45-4444-B69F-0CD34C9B9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E02C3A-E7D4-46FC-BC7F-1B410EF4C2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99AAC8-D084-49E6-8B15-133934D280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E3CA5-D4DC-45B6-B960-C635CDEA4CC8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DC499-4EEF-4F9C-8A69-EA9B2EE876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8313E0-E5BF-46F3-8283-5B567C159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5D578-961B-4EC3-8E7A-463869F3BB58}" type="slidenum">
              <a:rPr lang="nl-NL" smtClean="0"/>
              <a:t>‹#›</a:t>
            </a:fld>
            <a:endParaRPr lang="nl-N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0083EB-D91D-482F-9C25-9754020317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2540"/>
            <a:ext cx="12192000" cy="785460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7124EF24-CCFF-4E6F-9870-6FB42ED0D4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4032" y="4862534"/>
            <a:ext cx="2318382" cy="86519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77A2605-0E49-45A4-A465-F30DBB2B20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6224940"/>
            <a:ext cx="12192000" cy="785460"/>
          </a:xfrm>
          <a:prstGeom prst="rect">
            <a:avLst/>
          </a:prstGeom>
        </p:spPr>
      </p:pic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4FED3D26-E67A-45D7-BD53-DD9EB7685A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6432" y="5014934"/>
            <a:ext cx="2318382" cy="865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7852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76EC94-3FA9-4FF9-BC31-64EFE6E8B6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1D0B52-7BD6-4762-9CF3-015879ADF8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2270A5-A745-478B-AF03-669422F7F9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EE80B4-CAF4-4AA9-8C43-B96D4AE067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E3CA5-D4DC-45B6-B960-C635CDEA4CC8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541CE4-FA53-4176-99CD-A1EC069E9B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C766AC-0C79-4A58-8BFC-B26415140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5D578-961B-4EC3-8E7A-463869F3BB58}" type="slidenum">
              <a:rPr lang="nl-NL" smtClean="0"/>
              <a:t>‹#›</a:t>
            </a:fld>
            <a:endParaRPr lang="nl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41EACC7-7E70-4C84-AF28-41619253A4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2540"/>
            <a:ext cx="12192000" cy="785460"/>
          </a:xfrm>
          <a:prstGeom prst="rect">
            <a:avLst/>
          </a:prstGeom>
        </p:spPr>
      </p:pic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B71DAE54-26B3-4C41-A1B5-E7BDF56A90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4032" y="4862534"/>
            <a:ext cx="2318382" cy="865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9613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B5DF0-1998-423B-96D0-B934A80EE4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A9EA1A-3DAA-4576-A3EA-756D0CEF40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14462A-6995-42A1-A70D-0A21FB65D3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4F95F2-27BB-4437-9B20-F4ACA8CC781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F00BEB-41F0-48A7-BABC-81D0E5DF8D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B2827BA-F2A4-4E05-8E70-8BEC6FC37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E3CA5-D4DC-45B6-B960-C635CDEA4CC8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05C9976-B740-4055-A9A0-1FBF8E498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57068F-519A-457A-8B52-528B2380E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5D578-961B-4EC3-8E7A-463869F3BB58}" type="slidenum">
              <a:rPr lang="nl-NL" smtClean="0"/>
              <a:t>‹#›</a:t>
            </a:fld>
            <a:endParaRPr lang="nl-NL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4F1F7D7-43C8-4632-9ECD-DB7FE7DBFC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2540"/>
            <a:ext cx="12192000" cy="785460"/>
          </a:xfrm>
          <a:prstGeom prst="rect">
            <a:avLst/>
          </a:prstGeom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C9576587-CEC9-4313-839E-75C0ABE1DD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4032" y="4862534"/>
            <a:ext cx="2318382" cy="865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5592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A814A9-56DD-493D-AD7B-C6E1CD764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9FC3D1-32A5-4759-824F-08CDA94F88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E3CA5-D4DC-45B6-B960-C635CDEA4CC8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55FDF8-CD68-48EB-B428-B5E5D559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C2026D-1E8A-4784-82D0-6539567EB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5D578-961B-4EC3-8E7A-463869F3BB58}" type="slidenum">
              <a:rPr lang="nl-NL" smtClean="0"/>
              <a:t>‹#›</a:t>
            </a:fld>
            <a:endParaRPr lang="nl-NL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3D44C1-D17B-4B4A-B341-7401511FFE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2540"/>
            <a:ext cx="12192000" cy="785460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7DB30CDF-4D31-4BA3-8C87-3A9FF734D7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4032" y="4862534"/>
            <a:ext cx="2318382" cy="865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655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8934C1-A18F-4145-9275-AF8B8AB0D7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E3CA5-D4DC-45B6-B960-C635CDEA4CC8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486695-B07F-48B6-B6BF-55393BED48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C60C87-0E04-4F7B-9EE1-A0C8A0ECD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5D578-961B-4EC3-8E7A-463869F3BB58}" type="slidenum">
              <a:rPr lang="nl-NL" smtClean="0"/>
              <a:t>‹#›</a:t>
            </a:fld>
            <a:endParaRPr lang="nl-N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499380-E53C-4249-9ED7-34F0C89A53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2540"/>
            <a:ext cx="12192000" cy="785460"/>
          </a:xfrm>
          <a:prstGeom prst="rect">
            <a:avLst/>
          </a:prstGeom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B218D88F-4DFB-4201-B147-9C9E0DE338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4032" y="4862534"/>
            <a:ext cx="2318382" cy="865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051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C96E8-7FFD-4A33-81DE-3FBF4241E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7588DB-3208-4E58-8BE5-04F3DBCA7B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FAE61E-B484-415D-97A6-BE6908280C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11C385-6788-4869-8A23-D872DDA922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E3CA5-D4DC-45B6-B960-C635CDEA4CC8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BDCC07-9D73-405C-9F56-934FC36513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BC2CAA-1C92-411A-BAF4-E95ABB3AD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5D578-961B-4EC3-8E7A-463869F3BB58}" type="slidenum">
              <a:rPr lang="nl-NL" smtClean="0"/>
              <a:t>‹#›</a:t>
            </a:fld>
            <a:endParaRPr lang="nl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AB2D319-B33D-4BA0-BB0C-38137BAEAA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2540"/>
            <a:ext cx="12192000" cy="785460"/>
          </a:xfrm>
          <a:prstGeom prst="rect">
            <a:avLst/>
          </a:prstGeom>
        </p:spPr>
      </p:pic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83DDF3D4-1442-4180-B747-7AFBC0C18E3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4032" y="4862534"/>
            <a:ext cx="2318382" cy="865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274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07CA6-875D-4C45-B429-4E2E8CBB76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16527F-6F55-4B6A-B043-C43904F951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2A9B5A-1F42-4208-804C-7B3DF31404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85A6D9-0166-4010-82FB-A1E9E9CA8D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E3CA5-D4DC-45B6-B960-C635CDEA4CC8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1FB528-0A13-4FC5-98B9-11D043C5B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1168BD-E714-46B5-8139-43D71162B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5D578-961B-4EC3-8E7A-463869F3BB58}" type="slidenum">
              <a:rPr lang="nl-NL" smtClean="0"/>
              <a:t>‹#›</a:t>
            </a:fld>
            <a:endParaRPr lang="nl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05A1201-7EC8-4C78-A353-2A1208250D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2540"/>
            <a:ext cx="12192000" cy="785460"/>
          </a:xfrm>
          <a:prstGeom prst="rect">
            <a:avLst/>
          </a:prstGeom>
        </p:spPr>
      </p:pic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D10A326-9E12-43C4-B280-9694500FEDE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4032" y="4862534"/>
            <a:ext cx="2318382" cy="865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0351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D775A6-2F7B-4DD2-9F29-4E0B4BDB41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85609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D775A6-2F7B-4DD2-9F29-4E0B4BDB4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4C02BE5B-A810-42A7-8056-AEBC0E9820D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C845BB9-5CC0-4E47-AF23-B69416BE3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48ED3F-FC4C-4D87-BDC5-C0C190DD7B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AE47EA-6720-4C27-A1C5-957A7C7BBF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DE3CA5-D4DC-45B6-B960-C635CDEA4CC8}" type="datetimeFigureOut">
              <a:rPr lang="nl-NL" smtClean="0"/>
              <a:t>11-6-2020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0399B4-647C-4007-85A5-98FAAEC135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ACDE7C-4F4C-4CC8-92E5-4091097416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E5D578-961B-4EC3-8E7A-463869F3BB5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20224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arthdatascience.org/courses/earth-analytics/document-your-science/add-images-to-rmarkdown-report/" TargetMode="External"/><Relationship Id="rId3" Type="http://schemas.openxmlformats.org/officeDocument/2006/relationships/tags" Target="../tags/tag21.xml"/><Relationship Id="rId7" Type="http://schemas.openxmlformats.org/officeDocument/2006/relationships/hyperlink" Target="https://www.w3schools.com/css/" TargetMode="Externa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3.xml"/><Relationship Id="rId7" Type="http://schemas.openxmlformats.org/officeDocument/2006/relationships/hyperlink" Target="https://github.com/OlgaShldrr/" TargetMode="Externa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OlgaShldrr/" TargetMode="External"/><Relationship Id="rId3" Type="http://schemas.openxmlformats.org/officeDocument/2006/relationships/tags" Target="../tags/tag8.xml"/><Relationship Id="rId7" Type="http://schemas.openxmlformats.org/officeDocument/2006/relationships/hyperlink" Target="https://rstudio.cloud/spaces/70290/join?access_code=IaaM%2FFet3%2BZkNtTnIQ6xT5gWHW2dtVlisGx8Zhkd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ckoverflow.com/" TargetMode="External"/><Relationship Id="rId3" Type="http://schemas.openxmlformats.org/officeDocument/2006/relationships/tags" Target="../tags/tag12.xml"/><Relationship Id="rId7" Type="http://schemas.openxmlformats.org/officeDocument/2006/relationships/hyperlink" Target="https://rstudio.com/resources/cheatsheets/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Relationship Id="rId9" Type="http://schemas.openxmlformats.org/officeDocument/2006/relationships/hyperlink" Target="https://rstudio.cloud/learn/primers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hyperlink" Target="https://www.rstudio.com/wp-content/uploads/2015/02/rmarkdown-cheatsheet.pdf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9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8A8C39-42CF-4BDA-857D-7E45816C79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619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58A8C39-42CF-4BDA-857D-7E45816C79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3BE5D8-A03A-4179-A801-0312275517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C08A18-F567-4A60-B748-92774CD468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5070" y="1122363"/>
            <a:ext cx="10446026" cy="2387600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69369B"/>
                </a:solidFill>
                <a:latin typeface="Arial Black" panose="020B0A04020102020204" pitchFamily="34" charset="0"/>
              </a:rPr>
              <a:t>R for Beginners: Learn How to Automate Your Reporting</a:t>
            </a:r>
            <a:endParaRPr lang="nl-NL" dirty="0">
              <a:solidFill>
                <a:srgbClr val="69369B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CAD408-C6E8-4DD3-A2A2-75470BE9B5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3097697" y="3639172"/>
            <a:ext cx="13434391" cy="1655762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9FC9D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ga Sholderer</a:t>
            </a:r>
          </a:p>
          <a:p>
            <a:pPr algn="r"/>
            <a:r>
              <a:rPr lang="en-US" dirty="0">
                <a:solidFill>
                  <a:srgbClr val="9FC9D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ior Consultant, Deloitte Netherlands</a:t>
            </a:r>
            <a:endParaRPr lang="nl-NL" dirty="0">
              <a:solidFill>
                <a:srgbClr val="9FC9D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83733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103CC1D-37AB-43AD-89BE-C70455949B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964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103CC1D-37AB-43AD-89BE-C70455949B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9F4F609-C8BF-4820-B00C-5EF11B11F3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621459-77E7-4D78-B15C-EE30C6DDC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>
                <a:solidFill>
                  <a:srgbClr val="69369B"/>
                </a:solidFill>
                <a:latin typeface="Arial Black" panose="020B0A04020102020204" pitchFamily="34" charset="0"/>
              </a:rPr>
              <a:t>Layout</a:t>
            </a:r>
            <a:endParaRPr lang="nl-NL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719EA8-1725-4E13-84C2-F065E45FB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45976" y="1956871"/>
            <a:ext cx="10515600" cy="4351338"/>
          </a:xfrm>
        </p:spPr>
        <p:txBody>
          <a:bodyPr/>
          <a:lstStyle/>
          <a:p>
            <a:pPr marL="0" indent="0">
              <a:lnSpc>
                <a:spcPct val="200000"/>
              </a:lnSpc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CS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options for HTML: change fonts, colors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Include logos </a:t>
            </a: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4F9907-2742-4110-B247-D67289C548AA}"/>
              </a:ext>
            </a:extLst>
          </p:cNvPr>
          <p:cNvGrpSpPr/>
          <p:nvPr/>
        </p:nvGrpSpPr>
        <p:grpSpPr>
          <a:xfrm>
            <a:off x="6281530" y="164280"/>
            <a:ext cx="5617543" cy="385511"/>
            <a:chOff x="1954696" y="1965704"/>
            <a:chExt cx="6819162" cy="548642"/>
          </a:xfrm>
        </p:grpSpPr>
        <p:sp>
          <p:nvSpPr>
            <p:cNvPr id="8" name="Pentagon 15">
              <a:extLst>
                <a:ext uri="{FF2B5EF4-FFF2-40B4-BE49-F238E27FC236}">
                  <a16:creationId xmlns:a16="http://schemas.microsoft.com/office/drawing/2014/main" id="{6ABCED92-623E-466F-A438-57EE7F229F4D}"/>
                </a:ext>
              </a:extLst>
            </p:cNvPr>
            <p:cNvSpPr/>
            <p:nvPr/>
          </p:nvSpPr>
          <p:spPr>
            <a:xfrm>
              <a:off x="1954696" y="1965704"/>
              <a:ext cx="1828800" cy="548640"/>
            </a:xfrm>
            <a:prstGeom prst="homePlate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keeping</a:t>
              </a:r>
            </a:p>
          </p:txBody>
        </p:sp>
        <p:sp>
          <p:nvSpPr>
            <p:cNvPr id="9" name="Chevron 17">
              <a:extLst>
                <a:ext uri="{FF2B5EF4-FFF2-40B4-BE49-F238E27FC236}">
                  <a16:creationId xmlns:a16="http://schemas.microsoft.com/office/drawing/2014/main" id="{C5197763-A009-4CA7-B0CE-7BE74CBD63A1}"/>
                </a:ext>
              </a:extLst>
            </p:cNvPr>
            <p:cNvSpPr/>
            <p:nvPr/>
          </p:nvSpPr>
          <p:spPr>
            <a:xfrm>
              <a:off x="3618150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 to R</a:t>
              </a:r>
            </a:p>
          </p:txBody>
        </p:sp>
        <p:sp>
          <p:nvSpPr>
            <p:cNvPr id="10" name="Chevron 18">
              <a:extLst>
                <a:ext uri="{FF2B5EF4-FFF2-40B4-BE49-F238E27FC236}">
                  <a16:creationId xmlns:a16="http://schemas.microsoft.com/office/drawing/2014/main" id="{56A74303-2AEC-4E4F-9AA1-37F015868B6F}"/>
                </a:ext>
              </a:extLst>
            </p:cNvPr>
            <p:cNvSpPr/>
            <p:nvPr/>
          </p:nvSpPr>
          <p:spPr>
            <a:xfrm>
              <a:off x="5281604" y="1965706"/>
              <a:ext cx="1828800" cy="548640"/>
            </a:xfrm>
            <a:prstGeom prst="chevron">
              <a:avLst/>
            </a:prstGeom>
            <a:solidFill>
              <a:srgbClr val="69369B"/>
            </a:solidFill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Markdown</a:t>
              </a:r>
              <a:endParaRPr lang="en-US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Chevron 24">
              <a:extLst>
                <a:ext uri="{FF2B5EF4-FFF2-40B4-BE49-F238E27FC236}">
                  <a16:creationId xmlns:a16="http://schemas.microsoft.com/office/drawing/2014/main" id="{D96AFDF6-48C4-4F16-ADDB-3CCF10B16598}"/>
                </a:ext>
              </a:extLst>
            </p:cNvPr>
            <p:cNvSpPr/>
            <p:nvPr/>
          </p:nvSpPr>
          <p:spPr>
            <a:xfrm>
              <a:off x="6945058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mo</a:t>
              </a:r>
            </a:p>
          </p:txBody>
        </p:sp>
      </p:grpSp>
      <p:sp>
        <p:nvSpPr>
          <p:cNvPr id="12" name="Freeform 59">
            <a:extLst>
              <a:ext uri="{FF2B5EF4-FFF2-40B4-BE49-F238E27FC236}">
                <a16:creationId xmlns:a16="http://schemas.microsoft.com/office/drawing/2014/main" id="{1C10B4B8-63D3-49C1-A68E-90EC2CFBE7BC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964095" y="2283582"/>
            <a:ext cx="517074" cy="517074"/>
          </a:xfrm>
          <a:custGeom>
            <a:avLst/>
            <a:gdLst>
              <a:gd name="T0" fmla="*/ 147 w 512"/>
              <a:gd name="T1" fmla="*/ 170 h 512"/>
              <a:gd name="T2" fmla="*/ 201 w 512"/>
              <a:gd name="T3" fmla="*/ 170 h 512"/>
              <a:gd name="T4" fmla="*/ 223 w 512"/>
              <a:gd name="T5" fmla="*/ 170 h 512"/>
              <a:gd name="T6" fmla="*/ 256 w 512"/>
              <a:gd name="T7" fmla="*/ 117 h 512"/>
              <a:gd name="T8" fmla="*/ 133 w 512"/>
              <a:gd name="T9" fmla="*/ 192 h 512"/>
              <a:gd name="T10" fmla="*/ 192 w 512"/>
              <a:gd name="T11" fmla="*/ 245 h 512"/>
              <a:gd name="T12" fmla="*/ 218 w 512"/>
              <a:gd name="T13" fmla="*/ 320 h 512"/>
              <a:gd name="T14" fmla="*/ 298 w 512"/>
              <a:gd name="T15" fmla="*/ 266 h 512"/>
              <a:gd name="T16" fmla="*/ 218 w 512"/>
              <a:gd name="T17" fmla="*/ 320 h 512"/>
              <a:gd name="T18" fmla="*/ 292 w 512"/>
              <a:gd name="T19" fmla="*/ 122 h 512"/>
              <a:gd name="T20" fmla="*/ 365 w 512"/>
              <a:gd name="T21" fmla="*/ 170 h 512"/>
              <a:gd name="T22" fmla="*/ 218 w 512"/>
              <a:gd name="T23" fmla="*/ 192 h 512"/>
              <a:gd name="T24" fmla="*/ 298 w 512"/>
              <a:gd name="T25" fmla="*/ 245 h 512"/>
              <a:gd name="T26" fmla="*/ 192 w 512"/>
              <a:gd name="T27" fmla="*/ 266 h 512"/>
              <a:gd name="T28" fmla="*/ 133 w 512"/>
              <a:gd name="T29" fmla="*/ 320 h 512"/>
              <a:gd name="T30" fmla="*/ 192 w 512"/>
              <a:gd name="T31" fmla="*/ 266 h 512"/>
              <a:gd name="T32" fmla="*/ 394 w 512"/>
              <a:gd name="T33" fmla="*/ 245 h 512"/>
              <a:gd name="T34" fmla="*/ 314 w 512"/>
              <a:gd name="T35" fmla="*/ 192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256 w 512"/>
              <a:gd name="T43" fmla="*/ 96 h 512"/>
              <a:gd name="T44" fmla="*/ 256 w 512"/>
              <a:gd name="T45" fmla="*/ 416 h 512"/>
              <a:gd name="T46" fmla="*/ 314 w 512"/>
              <a:gd name="T47" fmla="*/ 320 h 512"/>
              <a:gd name="T48" fmla="*/ 394 w 512"/>
              <a:gd name="T49" fmla="*/ 266 h 512"/>
              <a:gd name="T50" fmla="*/ 314 w 512"/>
              <a:gd name="T51" fmla="*/ 320 h 512"/>
              <a:gd name="T52" fmla="*/ 220 w 512"/>
              <a:gd name="T53" fmla="*/ 389 h 512"/>
              <a:gd name="T54" fmla="*/ 147 w 512"/>
              <a:gd name="T55" fmla="*/ 341 h 512"/>
              <a:gd name="T56" fmla="*/ 365 w 512"/>
              <a:gd name="T57" fmla="*/ 341 h 512"/>
              <a:gd name="T58" fmla="*/ 292 w 512"/>
              <a:gd name="T59" fmla="*/ 389 h 512"/>
              <a:gd name="T60" fmla="*/ 288 w 512"/>
              <a:gd name="T61" fmla="*/ 341 h 512"/>
              <a:gd name="T62" fmla="*/ 256 w 512"/>
              <a:gd name="T63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01" y="170"/>
                </a:moveTo>
                <a:cubicBezTo>
                  <a:pt x="147" y="170"/>
                  <a:pt x="147" y="170"/>
                  <a:pt x="147" y="170"/>
                </a:cubicBezTo>
                <a:cubicBezTo>
                  <a:pt x="165" y="147"/>
                  <a:pt x="190" y="130"/>
                  <a:pt x="220" y="122"/>
                </a:cubicBezTo>
                <a:cubicBezTo>
                  <a:pt x="212" y="135"/>
                  <a:pt x="206" y="151"/>
                  <a:pt x="201" y="170"/>
                </a:cubicBezTo>
                <a:close/>
                <a:moveTo>
                  <a:pt x="256" y="117"/>
                </a:moveTo>
                <a:cubicBezTo>
                  <a:pt x="245" y="117"/>
                  <a:pt x="232" y="137"/>
                  <a:pt x="223" y="170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79" y="137"/>
                  <a:pt x="266" y="117"/>
                  <a:pt x="256" y="117"/>
                </a:cubicBezTo>
                <a:close/>
                <a:moveTo>
                  <a:pt x="197" y="192"/>
                </a:moveTo>
                <a:cubicBezTo>
                  <a:pt x="133" y="192"/>
                  <a:pt x="133" y="192"/>
                  <a:pt x="133" y="192"/>
                </a:cubicBezTo>
                <a:cubicBezTo>
                  <a:pt x="124" y="208"/>
                  <a:pt x="119" y="226"/>
                  <a:pt x="118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92" y="227"/>
                  <a:pt x="194" y="209"/>
                  <a:pt x="197" y="192"/>
                </a:cubicBezTo>
                <a:close/>
                <a:moveTo>
                  <a:pt x="218" y="320"/>
                </a:moveTo>
                <a:cubicBezTo>
                  <a:pt x="293" y="320"/>
                  <a:pt x="293" y="320"/>
                  <a:pt x="293" y="320"/>
                </a:cubicBezTo>
                <a:cubicBezTo>
                  <a:pt x="296" y="304"/>
                  <a:pt x="298" y="286"/>
                  <a:pt x="298" y="266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214" y="286"/>
                  <a:pt x="216" y="304"/>
                  <a:pt x="218" y="320"/>
                </a:cubicBezTo>
                <a:close/>
                <a:moveTo>
                  <a:pt x="365" y="170"/>
                </a:moveTo>
                <a:cubicBezTo>
                  <a:pt x="347" y="147"/>
                  <a:pt x="321" y="130"/>
                  <a:pt x="292" y="122"/>
                </a:cubicBezTo>
                <a:cubicBezTo>
                  <a:pt x="299" y="135"/>
                  <a:pt x="306" y="151"/>
                  <a:pt x="310" y="170"/>
                </a:cubicBezTo>
                <a:lnTo>
                  <a:pt x="365" y="170"/>
                </a:lnTo>
                <a:close/>
                <a:moveTo>
                  <a:pt x="293" y="192"/>
                </a:moveTo>
                <a:cubicBezTo>
                  <a:pt x="218" y="192"/>
                  <a:pt x="218" y="192"/>
                  <a:pt x="218" y="192"/>
                </a:cubicBezTo>
                <a:cubicBezTo>
                  <a:pt x="216" y="207"/>
                  <a:pt x="214" y="225"/>
                  <a:pt x="213" y="245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98" y="225"/>
                  <a:pt x="296" y="207"/>
                  <a:pt x="293" y="192"/>
                </a:cubicBezTo>
                <a:close/>
                <a:moveTo>
                  <a:pt x="192" y="266"/>
                </a:moveTo>
                <a:cubicBezTo>
                  <a:pt x="118" y="266"/>
                  <a:pt x="118" y="266"/>
                  <a:pt x="118" y="266"/>
                </a:cubicBezTo>
                <a:cubicBezTo>
                  <a:pt x="119" y="285"/>
                  <a:pt x="124" y="303"/>
                  <a:pt x="133" y="320"/>
                </a:cubicBezTo>
                <a:cubicBezTo>
                  <a:pt x="197" y="320"/>
                  <a:pt x="197" y="320"/>
                  <a:pt x="197" y="320"/>
                </a:cubicBezTo>
                <a:cubicBezTo>
                  <a:pt x="194" y="303"/>
                  <a:pt x="192" y="284"/>
                  <a:pt x="192" y="266"/>
                </a:cubicBezTo>
                <a:close/>
                <a:moveTo>
                  <a:pt x="319" y="245"/>
                </a:moveTo>
                <a:cubicBezTo>
                  <a:pt x="394" y="245"/>
                  <a:pt x="394" y="245"/>
                  <a:pt x="394" y="245"/>
                </a:cubicBezTo>
                <a:cubicBezTo>
                  <a:pt x="392" y="226"/>
                  <a:pt x="387" y="208"/>
                  <a:pt x="379" y="192"/>
                </a:cubicBezTo>
                <a:cubicBezTo>
                  <a:pt x="314" y="192"/>
                  <a:pt x="314" y="192"/>
                  <a:pt x="314" y="192"/>
                </a:cubicBezTo>
                <a:cubicBezTo>
                  <a:pt x="317" y="209"/>
                  <a:pt x="319" y="227"/>
                  <a:pt x="319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167" y="96"/>
                  <a:pt x="96" y="167"/>
                  <a:pt x="96" y="256"/>
                </a:cubicBezTo>
                <a:cubicBezTo>
                  <a:pt x="96" y="344"/>
                  <a:pt x="167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314" y="320"/>
                </a:moveTo>
                <a:cubicBezTo>
                  <a:pt x="379" y="320"/>
                  <a:pt x="379" y="320"/>
                  <a:pt x="379" y="320"/>
                </a:cubicBezTo>
                <a:cubicBezTo>
                  <a:pt x="387" y="303"/>
                  <a:pt x="392" y="285"/>
                  <a:pt x="394" y="266"/>
                </a:cubicBezTo>
                <a:cubicBezTo>
                  <a:pt x="319" y="266"/>
                  <a:pt x="319" y="266"/>
                  <a:pt x="319" y="266"/>
                </a:cubicBezTo>
                <a:cubicBezTo>
                  <a:pt x="319" y="284"/>
                  <a:pt x="317" y="303"/>
                  <a:pt x="314" y="320"/>
                </a:cubicBezTo>
                <a:close/>
                <a:moveTo>
                  <a:pt x="147" y="341"/>
                </a:moveTo>
                <a:cubicBezTo>
                  <a:pt x="165" y="364"/>
                  <a:pt x="190" y="381"/>
                  <a:pt x="220" y="389"/>
                </a:cubicBezTo>
                <a:cubicBezTo>
                  <a:pt x="212" y="377"/>
                  <a:pt x="206" y="360"/>
                  <a:pt x="201" y="341"/>
                </a:cubicBezTo>
                <a:lnTo>
                  <a:pt x="147" y="341"/>
                </a:lnTo>
                <a:close/>
                <a:moveTo>
                  <a:pt x="292" y="389"/>
                </a:moveTo>
                <a:cubicBezTo>
                  <a:pt x="321" y="381"/>
                  <a:pt x="347" y="364"/>
                  <a:pt x="365" y="341"/>
                </a:cubicBezTo>
                <a:cubicBezTo>
                  <a:pt x="310" y="341"/>
                  <a:pt x="310" y="341"/>
                  <a:pt x="310" y="341"/>
                </a:cubicBezTo>
                <a:cubicBezTo>
                  <a:pt x="306" y="360"/>
                  <a:pt x="299" y="377"/>
                  <a:pt x="292" y="389"/>
                </a:cubicBezTo>
                <a:close/>
                <a:moveTo>
                  <a:pt x="256" y="394"/>
                </a:moveTo>
                <a:cubicBezTo>
                  <a:pt x="266" y="394"/>
                  <a:pt x="279" y="375"/>
                  <a:pt x="288" y="341"/>
                </a:cubicBezTo>
                <a:cubicBezTo>
                  <a:pt x="223" y="341"/>
                  <a:pt x="223" y="341"/>
                  <a:pt x="223" y="341"/>
                </a:cubicBezTo>
                <a:cubicBezTo>
                  <a:pt x="232" y="375"/>
                  <a:pt x="245" y="394"/>
                  <a:pt x="256" y="394"/>
                </a:cubicBezTo>
                <a:close/>
              </a:path>
            </a:pathLst>
          </a:custGeom>
          <a:solidFill>
            <a:srgbClr val="69369B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Freeform 59">
            <a:extLst>
              <a:ext uri="{FF2B5EF4-FFF2-40B4-BE49-F238E27FC236}">
                <a16:creationId xmlns:a16="http://schemas.microsoft.com/office/drawing/2014/main" id="{8D556173-3C10-4314-9F10-9197C798BBD5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964095" y="3297294"/>
            <a:ext cx="517074" cy="517074"/>
          </a:xfrm>
          <a:custGeom>
            <a:avLst/>
            <a:gdLst>
              <a:gd name="T0" fmla="*/ 147 w 512"/>
              <a:gd name="T1" fmla="*/ 170 h 512"/>
              <a:gd name="T2" fmla="*/ 201 w 512"/>
              <a:gd name="T3" fmla="*/ 170 h 512"/>
              <a:gd name="T4" fmla="*/ 223 w 512"/>
              <a:gd name="T5" fmla="*/ 170 h 512"/>
              <a:gd name="T6" fmla="*/ 256 w 512"/>
              <a:gd name="T7" fmla="*/ 117 h 512"/>
              <a:gd name="T8" fmla="*/ 133 w 512"/>
              <a:gd name="T9" fmla="*/ 192 h 512"/>
              <a:gd name="T10" fmla="*/ 192 w 512"/>
              <a:gd name="T11" fmla="*/ 245 h 512"/>
              <a:gd name="T12" fmla="*/ 218 w 512"/>
              <a:gd name="T13" fmla="*/ 320 h 512"/>
              <a:gd name="T14" fmla="*/ 298 w 512"/>
              <a:gd name="T15" fmla="*/ 266 h 512"/>
              <a:gd name="T16" fmla="*/ 218 w 512"/>
              <a:gd name="T17" fmla="*/ 320 h 512"/>
              <a:gd name="T18" fmla="*/ 292 w 512"/>
              <a:gd name="T19" fmla="*/ 122 h 512"/>
              <a:gd name="T20" fmla="*/ 365 w 512"/>
              <a:gd name="T21" fmla="*/ 170 h 512"/>
              <a:gd name="T22" fmla="*/ 218 w 512"/>
              <a:gd name="T23" fmla="*/ 192 h 512"/>
              <a:gd name="T24" fmla="*/ 298 w 512"/>
              <a:gd name="T25" fmla="*/ 245 h 512"/>
              <a:gd name="T26" fmla="*/ 192 w 512"/>
              <a:gd name="T27" fmla="*/ 266 h 512"/>
              <a:gd name="T28" fmla="*/ 133 w 512"/>
              <a:gd name="T29" fmla="*/ 320 h 512"/>
              <a:gd name="T30" fmla="*/ 192 w 512"/>
              <a:gd name="T31" fmla="*/ 266 h 512"/>
              <a:gd name="T32" fmla="*/ 394 w 512"/>
              <a:gd name="T33" fmla="*/ 245 h 512"/>
              <a:gd name="T34" fmla="*/ 314 w 512"/>
              <a:gd name="T35" fmla="*/ 192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256 w 512"/>
              <a:gd name="T43" fmla="*/ 96 h 512"/>
              <a:gd name="T44" fmla="*/ 256 w 512"/>
              <a:gd name="T45" fmla="*/ 416 h 512"/>
              <a:gd name="T46" fmla="*/ 314 w 512"/>
              <a:gd name="T47" fmla="*/ 320 h 512"/>
              <a:gd name="T48" fmla="*/ 394 w 512"/>
              <a:gd name="T49" fmla="*/ 266 h 512"/>
              <a:gd name="T50" fmla="*/ 314 w 512"/>
              <a:gd name="T51" fmla="*/ 320 h 512"/>
              <a:gd name="T52" fmla="*/ 220 w 512"/>
              <a:gd name="T53" fmla="*/ 389 h 512"/>
              <a:gd name="T54" fmla="*/ 147 w 512"/>
              <a:gd name="T55" fmla="*/ 341 h 512"/>
              <a:gd name="T56" fmla="*/ 365 w 512"/>
              <a:gd name="T57" fmla="*/ 341 h 512"/>
              <a:gd name="T58" fmla="*/ 292 w 512"/>
              <a:gd name="T59" fmla="*/ 389 h 512"/>
              <a:gd name="T60" fmla="*/ 288 w 512"/>
              <a:gd name="T61" fmla="*/ 341 h 512"/>
              <a:gd name="T62" fmla="*/ 256 w 512"/>
              <a:gd name="T63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01" y="170"/>
                </a:moveTo>
                <a:cubicBezTo>
                  <a:pt x="147" y="170"/>
                  <a:pt x="147" y="170"/>
                  <a:pt x="147" y="170"/>
                </a:cubicBezTo>
                <a:cubicBezTo>
                  <a:pt x="165" y="147"/>
                  <a:pt x="190" y="130"/>
                  <a:pt x="220" y="122"/>
                </a:cubicBezTo>
                <a:cubicBezTo>
                  <a:pt x="212" y="135"/>
                  <a:pt x="206" y="151"/>
                  <a:pt x="201" y="170"/>
                </a:cubicBezTo>
                <a:close/>
                <a:moveTo>
                  <a:pt x="256" y="117"/>
                </a:moveTo>
                <a:cubicBezTo>
                  <a:pt x="245" y="117"/>
                  <a:pt x="232" y="137"/>
                  <a:pt x="223" y="170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79" y="137"/>
                  <a:pt x="266" y="117"/>
                  <a:pt x="256" y="117"/>
                </a:cubicBezTo>
                <a:close/>
                <a:moveTo>
                  <a:pt x="197" y="192"/>
                </a:moveTo>
                <a:cubicBezTo>
                  <a:pt x="133" y="192"/>
                  <a:pt x="133" y="192"/>
                  <a:pt x="133" y="192"/>
                </a:cubicBezTo>
                <a:cubicBezTo>
                  <a:pt x="124" y="208"/>
                  <a:pt x="119" y="226"/>
                  <a:pt x="118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92" y="227"/>
                  <a:pt x="194" y="209"/>
                  <a:pt x="197" y="192"/>
                </a:cubicBezTo>
                <a:close/>
                <a:moveTo>
                  <a:pt x="218" y="320"/>
                </a:moveTo>
                <a:cubicBezTo>
                  <a:pt x="293" y="320"/>
                  <a:pt x="293" y="320"/>
                  <a:pt x="293" y="320"/>
                </a:cubicBezTo>
                <a:cubicBezTo>
                  <a:pt x="296" y="304"/>
                  <a:pt x="298" y="286"/>
                  <a:pt x="298" y="266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214" y="286"/>
                  <a:pt x="216" y="304"/>
                  <a:pt x="218" y="320"/>
                </a:cubicBezTo>
                <a:close/>
                <a:moveTo>
                  <a:pt x="365" y="170"/>
                </a:moveTo>
                <a:cubicBezTo>
                  <a:pt x="347" y="147"/>
                  <a:pt x="321" y="130"/>
                  <a:pt x="292" y="122"/>
                </a:cubicBezTo>
                <a:cubicBezTo>
                  <a:pt x="299" y="135"/>
                  <a:pt x="306" y="151"/>
                  <a:pt x="310" y="170"/>
                </a:cubicBezTo>
                <a:lnTo>
                  <a:pt x="365" y="170"/>
                </a:lnTo>
                <a:close/>
                <a:moveTo>
                  <a:pt x="293" y="192"/>
                </a:moveTo>
                <a:cubicBezTo>
                  <a:pt x="218" y="192"/>
                  <a:pt x="218" y="192"/>
                  <a:pt x="218" y="192"/>
                </a:cubicBezTo>
                <a:cubicBezTo>
                  <a:pt x="216" y="207"/>
                  <a:pt x="214" y="225"/>
                  <a:pt x="213" y="245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98" y="225"/>
                  <a:pt x="296" y="207"/>
                  <a:pt x="293" y="192"/>
                </a:cubicBezTo>
                <a:close/>
                <a:moveTo>
                  <a:pt x="192" y="266"/>
                </a:moveTo>
                <a:cubicBezTo>
                  <a:pt x="118" y="266"/>
                  <a:pt x="118" y="266"/>
                  <a:pt x="118" y="266"/>
                </a:cubicBezTo>
                <a:cubicBezTo>
                  <a:pt x="119" y="285"/>
                  <a:pt x="124" y="303"/>
                  <a:pt x="133" y="320"/>
                </a:cubicBezTo>
                <a:cubicBezTo>
                  <a:pt x="197" y="320"/>
                  <a:pt x="197" y="320"/>
                  <a:pt x="197" y="320"/>
                </a:cubicBezTo>
                <a:cubicBezTo>
                  <a:pt x="194" y="303"/>
                  <a:pt x="192" y="284"/>
                  <a:pt x="192" y="266"/>
                </a:cubicBezTo>
                <a:close/>
                <a:moveTo>
                  <a:pt x="319" y="245"/>
                </a:moveTo>
                <a:cubicBezTo>
                  <a:pt x="394" y="245"/>
                  <a:pt x="394" y="245"/>
                  <a:pt x="394" y="245"/>
                </a:cubicBezTo>
                <a:cubicBezTo>
                  <a:pt x="392" y="226"/>
                  <a:pt x="387" y="208"/>
                  <a:pt x="379" y="192"/>
                </a:cubicBezTo>
                <a:cubicBezTo>
                  <a:pt x="314" y="192"/>
                  <a:pt x="314" y="192"/>
                  <a:pt x="314" y="192"/>
                </a:cubicBezTo>
                <a:cubicBezTo>
                  <a:pt x="317" y="209"/>
                  <a:pt x="319" y="227"/>
                  <a:pt x="319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167" y="96"/>
                  <a:pt x="96" y="167"/>
                  <a:pt x="96" y="256"/>
                </a:cubicBezTo>
                <a:cubicBezTo>
                  <a:pt x="96" y="344"/>
                  <a:pt x="167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314" y="320"/>
                </a:moveTo>
                <a:cubicBezTo>
                  <a:pt x="379" y="320"/>
                  <a:pt x="379" y="320"/>
                  <a:pt x="379" y="320"/>
                </a:cubicBezTo>
                <a:cubicBezTo>
                  <a:pt x="387" y="303"/>
                  <a:pt x="392" y="285"/>
                  <a:pt x="394" y="266"/>
                </a:cubicBezTo>
                <a:cubicBezTo>
                  <a:pt x="319" y="266"/>
                  <a:pt x="319" y="266"/>
                  <a:pt x="319" y="266"/>
                </a:cubicBezTo>
                <a:cubicBezTo>
                  <a:pt x="319" y="284"/>
                  <a:pt x="317" y="303"/>
                  <a:pt x="314" y="320"/>
                </a:cubicBezTo>
                <a:close/>
                <a:moveTo>
                  <a:pt x="147" y="341"/>
                </a:moveTo>
                <a:cubicBezTo>
                  <a:pt x="165" y="364"/>
                  <a:pt x="190" y="381"/>
                  <a:pt x="220" y="389"/>
                </a:cubicBezTo>
                <a:cubicBezTo>
                  <a:pt x="212" y="377"/>
                  <a:pt x="206" y="360"/>
                  <a:pt x="201" y="341"/>
                </a:cubicBezTo>
                <a:lnTo>
                  <a:pt x="147" y="341"/>
                </a:lnTo>
                <a:close/>
                <a:moveTo>
                  <a:pt x="292" y="389"/>
                </a:moveTo>
                <a:cubicBezTo>
                  <a:pt x="321" y="381"/>
                  <a:pt x="347" y="364"/>
                  <a:pt x="365" y="341"/>
                </a:cubicBezTo>
                <a:cubicBezTo>
                  <a:pt x="310" y="341"/>
                  <a:pt x="310" y="341"/>
                  <a:pt x="310" y="341"/>
                </a:cubicBezTo>
                <a:cubicBezTo>
                  <a:pt x="306" y="360"/>
                  <a:pt x="299" y="377"/>
                  <a:pt x="292" y="389"/>
                </a:cubicBezTo>
                <a:close/>
                <a:moveTo>
                  <a:pt x="256" y="394"/>
                </a:moveTo>
                <a:cubicBezTo>
                  <a:pt x="266" y="394"/>
                  <a:pt x="279" y="375"/>
                  <a:pt x="288" y="341"/>
                </a:cubicBezTo>
                <a:cubicBezTo>
                  <a:pt x="223" y="341"/>
                  <a:pt x="223" y="341"/>
                  <a:pt x="223" y="341"/>
                </a:cubicBezTo>
                <a:cubicBezTo>
                  <a:pt x="232" y="375"/>
                  <a:pt x="245" y="394"/>
                  <a:pt x="256" y="394"/>
                </a:cubicBezTo>
                <a:close/>
              </a:path>
            </a:pathLst>
          </a:custGeom>
          <a:solidFill>
            <a:srgbClr val="69369B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3DE69C7-BDC7-4C40-9D5C-BC5F7400FAD0}"/>
              </a:ext>
            </a:extLst>
          </p:cNvPr>
          <p:cNvSpPr txBox="1"/>
          <p:nvPr/>
        </p:nvSpPr>
        <p:spPr>
          <a:xfrm>
            <a:off x="298174" y="6308209"/>
            <a:ext cx="4890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Access </a:t>
            </a:r>
            <a:r>
              <a:rPr lang="nl-NL" dirty="0" err="1">
                <a:solidFill>
                  <a:schemeClr val="bg1"/>
                </a:solidFill>
              </a:rPr>
              <a:t>session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aterials</a:t>
            </a:r>
            <a:r>
              <a:rPr lang="nl-NL" dirty="0">
                <a:solidFill>
                  <a:schemeClr val="bg1"/>
                </a:solidFill>
              </a:rPr>
              <a:t>: https://bit.ly/3cWcIsV</a:t>
            </a:r>
          </a:p>
        </p:txBody>
      </p:sp>
    </p:spTree>
    <p:extLst>
      <p:ext uri="{BB962C8B-B14F-4D97-AF65-F5344CB8AC3E}">
        <p14:creationId xmlns:p14="http://schemas.microsoft.com/office/powerpoint/2010/main" val="35589183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103CC1D-37AB-43AD-89BE-C70455949B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2405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103CC1D-37AB-43AD-89BE-C70455949B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9F4F609-C8BF-4820-B00C-5EF11B11F3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621459-77E7-4D78-B15C-EE30C6DDC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solidFill>
                  <a:srgbClr val="69369B"/>
                </a:solidFill>
                <a:latin typeface="Arial Black" panose="020B0A04020102020204" pitchFamily="34" charset="0"/>
              </a:rPr>
              <a:t>Thank you!</a:t>
            </a:r>
            <a:endParaRPr lang="nl-NL" sz="3600" b="1" dirty="0">
              <a:solidFill>
                <a:srgbClr val="69369B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719EA8-1725-4E13-84C2-F065E45FB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07064" y="1253331"/>
            <a:ext cx="10515600" cy="4351338"/>
          </a:xfrm>
        </p:spPr>
        <p:txBody>
          <a:bodyPr/>
          <a:lstStyle/>
          <a:p>
            <a:pPr marL="0" indent="0">
              <a:lnSpc>
                <a:spcPct val="200000"/>
              </a:lnSpc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holderer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lga Sholderer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ccess all the materials on </a:t>
            </a:r>
            <a:r>
              <a:rPr lang="nl-NL" dirty="0">
                <a:hlinkClick r:id="rId7"/>
              </a:rPr>
              <a:t>https://github.com/OlgaShldrr/</a:t>
            </a: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18" name="Picture 6" descr="Twitter logo vector in (.EPS + .AI + .PDF) free download ...">
            <a:extLst>
              <a:ext uri="{FF2B5EF4-FFF2-40B4-BE49-F238E27FC236}">
                <a16:creationId xmlns:a16="http://schemas.microsoft.com/office/drawing/2014/main" id="{F971FD1D-94DC-48BD-9724-5721D4CAD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896" y="1469386"/>
            <a:ext cx="748748" cy="748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0" name="Picture 8" descr="Business, job, linkedin, logo, social media icon">
            <a:extLst>
              <a:ext uri="{FF2B5EF4-FFF2-40B4-BE49-F238E27FC236}">
                <a16:creationId xmlns:a16="http://schemas.microsoft.com/office/drawing/2014/main" id="{AD9230D5-7CAD-4192-B82D-12FB7B96DA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41" y="2176275"/>
            <a:ext cx="1162878" cy="1162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4" name="Picture 12" descr="Github Logo Icon of Glyph style - Available in SVG, PNG, EPS, AI ...">
            <a:extLst>
              <a:ext uri="{FF2B5EF4-FFF2-40B4-BE49-F238E27FC236}">
                <a16:creationId xmlns:a16="http://schemas.microsoft.com/office/drawing/2014/main" id="{8DDF582A-82F7-4ABF-8475-589D8EEC11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660" y="3391052"/>
            <a:ext cx="651641" cy="651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BB4D9A-A024-4E18-9769-471E1666AA3B}"/>
              </a:ext>
            </a:extLst>
          </p:cNvPr>
          <p:cNvSpPr txBox="1"/>
          <p:nvPr/>
        </p:nvSpPr>
        <p:spPr>
          <a:xfrm>
            <a:off x="298174" y="6308209"/>
            <a:ext cx="4890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Access </a:t>
            </a:r>
            <a:r>
              <a:rPr lang="nl-NL" dirty="0" err="1">
                <a:solidFill>
                  <a:schemeClr val="bg1"/>
                </a:solidFill>
              </a:rPr>
              <a:t>session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aterials</a:t>
            </a:r>
            <a:r>
              <a:rPr lang="nl-NL" dirty="0">
                <a:solidFill>
                  <a:schemeClr val="bg1"/>
                </a:solidFill>
              </a:rPr>
              <a:t>: https://bit.ly/3cWcIsV</a:t>
            </a:r>
          </a:p>
        </p:txBody>
      </p:sp>
    </p:spTree>
    <p:extLst>
      <p:ext uri="{BB962C8B-B14F-4D97-AF65-F5344CB8AC3E}">
        <p14:creationId xmlns:p14="http://schemas.microsoft.com/office/powerpoint/2010/main" val="26383424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BFF765-0A8B-4F8D-A00A-A42E351CE3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52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BFF765-0A8B-4F8D-A00A-A42E351CE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64262A-6300-46D1-90CA-149F53672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>
                <a:solidFill>
                  <a:srgbClr val="69369B"/>
                </a:solidFill>
                <a:latin typeface="Arial Black" panose="020B0A04020102020204" pitchFamily="34" charset="0"/>
              </a:rPr>
              <a:t>Agenda</a:t>
            </a:r>
            <a:endParaRPr lang="nl-NL" sz="3600" b="1" dirty="0">
              <a:solidFill>
                <a:srgbClr val="69369B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4468E1-AEF9-47E9-B985-B00A2611F9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3879" y="1690688"/>
            <a:ext cx="10515600" cy="4351338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ousekeeping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asics of R: intro and demo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RMarkdow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what is it and how can it help with reporting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19A1E8C-A3C2-461B-BC1A-3BF3732E7C56}"/>
              </a:ext>
            </a:extLst>
          </p:cNvPr>
          <p:cNvCxnSpPr/>
          <p:nvPr/>
        </p:nvCxnSpPr>
        <p:spPr>
          <a:xfrm>
            <a:off x="735495" y="1690688"/>
            <a:ext cx="0" cy="3278877"/>
          </a:xfrm>
          <a:prstGeom prst="line">
            <a:avLst/>
          </a:prstGeom>
          <a:ln w="9525" cap="flat" cmpd="sng" algn="ctr">
            <a:solidFill>
              <a:srgbClr val="69369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" name="Freeform 105">
            <a:extLst>
              <a:ext uri="{FF2B5EF4-FFF2-40B4-BE49-F238E27FC236}">
                <a16:creationId xmlns:a16="http://schemas.microsoft.com/office/drawing/2014/main" id="{EACDC8F7-04E0-4FCB-BF48-4908544EA5A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9364" y="1818862"/>
            <a:ext cx="495139" cy="4952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49 w 512"/>
              <a:gd name="T11" fmla="*/ 416 h 512"/>
              <a:gd name="T12" fmla="*/ 141 w 512"/>
              <a:gd name="T13" fmla="*/ 413 h 512"/>
              <a:gd name="T14" fmla="*/ 141 w 512"/>
              <a:gd name="T15" fmla="*/ 397 h 512"/>
              <a:gd name="T16" fmla="*/ 283 w 512"/>
              <a:gd name="T17" fmla="*/ 256 h 512"/>
              <a:gd name="T18" fmla="*/ 141 w 512"/>
              <a:gd name="T19" fmla="*/ 114 h 512"/>
              <a:gd name="T20" fmla="*/ 141 w 512"/>
              <a:gd name="T21" fmla="*/ 99 h 512"/>
              <a:gd name="T22" fmla="*/ 157 w 512"/>
              <a:gd name="T23" fmla="*/ 99 h 512"/>
              <a:gd name="T24" fmla="*/ 306 w 512"/>
              <a:gd name="T25" fmla="*/ 248 h 512"/>
              <a:gd name="T26" fmla="*/ 306 w 512"/>
              <a:gd name="T27" fmla="*/ 263 h 512"/>
              <a:gd name="T28" fmla="*/ 157 w 512"/>
              <a:gd name="T29" fmla="*/ 413 h 512"/>
              <a:gd name="T30" fmla="*/ 149 w 512"/>
              <a:gd name="T31" fmla="*/ 416 h 512"/>
              <a:gd name="T32" fmla="*/ 413 w 512"/>
              <a:gd name="T33" fmla="*/ 263 h 512"/>
              <a:gd name="T34" fmla="*/ 263 w 512"/>
              <a:gd name="T35" fmla="*/ 413 h 512"/>
              <a:gd name="T36" fmla="*/ 256 w 512"/>
              <a:gd name="T37" fmla="*/ 416 h 512"/>
              <a:gd name="T38" fmla="*/ 248 w 512"/>
              <a:gd name="T39" fmla="*/ 413 h 512"/>
              <a:gd name="T40" fmla="*/ 248 w 512"/>
              <a:gd name="T41" fmla="*/ 397 h 512"/>
              <a:gd name="T42" fmla="*/ 390 w 512"/>
              <a:gd name="T43" fmla="*/ 256 h 512"/>
              <a:gd name="T44" fmla="*/ 248 w 512"/>
              <a:gd name="T45" fmla="*/ 114 h 512"/>
              <a:gd name="T46" fmla="*/ 248 w 512"/>
              <a:gd name="T47" fmla="*/ 99 h 512"/>
              <a:gd name="T48" fmla="*/ 263 w 512"/>
              <a:gd name="T49" fmla="*/ 99 h 512"/>
              <a:gd name="T50" fmla="*/ 413 w 512"/>
              <a:gd name="T51" fmla="*/ 248 h 512"/>
              <a:gd name="T52" fmla="*/ 413 w 512"/>
              <a:gd name="T53" fmla="*/ 2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49" y="416"/>
                </a:moveTo>
                <a:cubicBezTo>
                  <a:pt x="146" y="416"/>
                  <a:pt x="144" y="415"/>
                  <a:pt x="141" y="413"/>
                </a:cubicBezTo>
                <a:cubicBezTo>
                  <a:pt x="137" y="408"/>
                  <a:pt x="137" y="402"/>
                  <a:pt x="141" y="397"/>
                </a:cubicBezTo>
                <a:cubicBezTo>
                  <a:pt x="283" y="256"/>
                  <a:pt x="283" y="256"/>
                  <a:pt x="283" y="256"/>
                </a:cubicBezTo>
                <a:cubicBezTo>
                  <a:pt x="141" y="114"/>
                  <a:pt x="141" y="114"/>
                  <a:pt x="141" y="114"/>
                </a:cubicBezTo>
                <a:cubicBezTo>
                  <a:pt x="137" y="110"/>
                  <a:pt x="137" y="103"/>
                  <a:pt x="141" y="99"/>
                </a:cubicBezTo>
                <a:cubicBezTo>
                  <a:pt x="146" y="95"/>
                  <a:pt x="152" y="95"/>
                  <a:pt x="157" y="99"/>
                </a:cubicBezTo>
                <a:cubicBezTo>
                  <a:pt x="306" y="248"/>
                  <a:pt x="306" y="248"/>
                  <a:pt x="306" y="248"/>
                </a:cubicBezTo>
                <a:cubicBezTo>
                  <a:pt x="310" y="252"/>
                  <a:pt x="310" y="259"/>
                  <a:pt x="306" y="263"/>
                </a:cubicBezTo>
                <a:cubicBezTo>
                  <a:pt x="157" y="413"/>
                  <a:pt x="157" y="413"/>
                  <a:pt x="157" y="413"/>
                </a:cubicBezTo>
                <a:cubicBezTo>
                  <a:pt x="154" y="415"/>
                  <a:pt x="152" y="416"/>
                  <a:pt x="149" y="416"/>
                </a:cubicBezTo>
                <a:close/>
                <a:moveTo>
                  <a:pt x="413" y="263"/>
                </a:moveTo>
                <a:cubicBezTo>
                  <a:pt x="263" y="413"/>
                  <a:pt x="263" y="413"/>
                  <a:pt x="263" y="413"/>
                </a:cubicBezTo>
                <a:cubicBezTo>
                  <a:pt x="261" y="415"/>
                  <a:pt x="258" y="416"/>
                  <a:pt x="256" y="416"/>
                </a:cubicBezTo>
                <a:cubicBezTo>
                  <a:pt x="253" y="416"/>
                  <a:pt x="250" y="415"/>
                  <a:pt x="248" y="413"/>
                </a:cubicBezTo>
                <a:cubicBezTo>
                  <a:pt x="244" y="408"/>
                  <a:pt x="244" y="402"/>
                  <a:pt x="248" y="397"/>
                </a:cubicBezTo>
                <a:cubicBezTo>
                  <a:pt x="390" y="256"/>
                  <a:pt x="390" y="256"/>
                  <a:pt x="390" y="256"/>
                </a:cubicBezTo>
                <a:cubicBezTo>
                  <a:pt x="248" y="114"/>
                  <a:pt x="248" y="114"/>
                  <a:pt x="248" y="114"/>
                </a:cubicBezTo>
                <a:cubicBezTo>
                  <a:pt x="244" y="110"/>
                  <a:pt x="244" y="103"/>
                  <a:pt x="248" y="99"/>
                </a:cubicBezTo>
                <a:cubicBezTo>
                  <a:pt x="252" y="95"/>
                  <a:pt x="259" y="95"/>
                  <a:pt x="263" y="99"/>
                </a:cubicBezTo>
                <a:cubicBezTo>
                  <a:pt x="413" y="248"/>
                  <a:pt x="413" y="248"/>
                  <a:pt x="413" y="248"/>
                </a:cubicBezTo>
                <a:cubicBezTo>
                  <a:pt x="417" y="252"/>
                  <a:pt x="417" y="259"/>
                  <a:pt x="413" y="263"/>
                </a:cubicBezTo>
                <a:close/>
              </a:path>
            </a:pathLst>
          </a:custGeom>
          <a:solidFill>
            <a:srgbClr val="6936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" name="Freeform 393">
            <a:extLst>
              <a:ext uri="{FF2B5EF4-FFF2-40B4-BE49-F238E27FC236}">
                <a16:creationId xmlns:a16="http://schemas.microsoft.com/office/drawing/2014/main" id="{4102E34F-5C00-4324-A7F7-0B17CAE4599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9364" y="2568578"/>
            <a:ext cx="497192" cy="498654"/>
          </a:xfrm>
          <a:custGeom>
            <a:avLst/>
            <a:gdLst>
              <a:gd name="T0" fmla="*/ 117 w 512"/>
              <a:gd name="T1" fmla="*/ 170 h 512"/>
              <a:gd name="T2" fmla="*/ 149 w 512"/>
              <a:gd name="T3" fmla="*/ 170 h 512"/>
              <a:gd name="T4" fmla="*/ 149 w 512"/>
              <a:gd name="T5" fmla="*/ 202 h 512"/>
              <a:gd name="T6" fmla="*/ 117 w 512"/>
              <a:gd name="T7" fmla="*/ 202 h 512"/>
              <a:gd name="T8" fmla="*/ 117 w 512"/>
              <a:gd name="T9" fmla="*/ 170 h 512"/>
              <a:gd name="T10" fmla="*/ 117 w 512"/>
              <a:gd name="T11" fmla="*/ 341 h 512"/>
              <a:gd name="T12" fmla="*/ 149 w 512"/>
              <a:gd name="T13" fmla="*/ 341 h 512"/>
              <a:gd name="T14" fmla="*/ 149 w 512"/>
              <a:gd name="T15" fmla="*/ 309 h 512"/>
              <a:gd name="T16" fmla="*/ 117 w 512"/>
              <a:gd name="T17" fmla="*/ 309 h 512"/>
              <a:gd name="T18" fmla="*/ 117 w 512"/>
              <a:gd name="T19" fmla="*/ 341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170 w 512"/>
              <a:gd name="T31" fmla="*/ 298 h 512"/>
              <a:gd name="T32" fmla="*/ 160 w 512"/>
              <a:gd name="T33" fmla="*/ 288 h 512"/>
              <a:gd name="T34" fmla="*/ 106 w 512"/>
              <a:gd name="T35" fmla="*/ 288 h 512"/>
              <a:gd name="T36" fmla="*/ 96 w 512"/>
              <a:gd name="T37" fmla="*/ 298 h 512"/>
              <a:gd name="T38" fmla="*/ 96 w 512"/>
              <a:gd name="T39" fmla="*/ 352 h 512"/>
              <a:gd name="T40" fmla="*/ 106 w 512"/>
              <a:gd name="T41" fmla="*/ 362 h 512"/>
              <a:gd name="T42" fmla="*/ 160 w 512"/>
              <a:gd name="T43" fmla="*/ 362 h 512"/>
              <a:gd name="T44" fmla="*/ 170 w 512"/>
              <a:gd name="T45" fmla="*/ 352 h 512"/>
              <a:gd name="T46" fmla="*/ 170 w 512"/>
              <a:gd name="T47" fmla="*/ 298 h 512"/>
              <a:gd name="T48" fmla="*/ 170 w 512"/>
              <a:gd name="T49" fmla="*/ 160 h 512"/>
              <a:gd name="T50" fmla="*/ 160 w 512"/>
              <a:gd name="T51" fmla="*/ 149 h 512"/>
              <a:gd name="T52" fmla="*/ 106 w 512"/>
              <a:gd name="T53" fmla="*/ 149 h 512"/>
              <a:gd name="T54" fmla="*/ 96 w 512"/>
              <a:gd name="T55" fmla="*/ 160 h 512"/>
              <a:gd name="T56" fmla="*/ 96 w 512"/>
              <a:gd name="T57" fmla="*/ 213 h 512"/>
              <a:gd name="T58" fmla="*/ 106 w 512"/>
              <a:gd name="T59" fmla="*/ 224 h 512"/>
              <a:gd name="T60" fmla="*/ 160 w 512"/>
              <a:gd name="T61" fmla="*/ 224 h 512"/>
              <a:gd name="T62" fmla="*/ 170 w 512"/>
              <a:gd name="T63" fmla="*/ 213 h 512"/>
              <a:gd name="T64" fmla="*/ 170 w 512"/>
              <a:gd name="T65" fmla="*/ 160 h 512"/>
              <a:gd name="T66" fmla="*/ 416 w 512"/>
              <a:gd name="T67" fmla="*/ 352 h 512"/>
              <a:gd name="T68" fmla="*/ 405 w 512"/>
              <a:gd name="T69" fmla="*/ 341 h 512"/>
              <a:gd name="T70" fmla="*/ 224 w 512"/>
              <a:gd name="T71" fmla="*/ 341 h 512"/>
              <a:gd name="T72" fmla="*/ 213 w 512"/>
              <a:gd name="T73" fmla="*/ 352 h 512"/>
              <a:gd name="T74" fmla="*/ 224 w 512"/>
              <a:gd name="T75" fmla="*/ 362 h 512"/>
              <a:gd name="T76" fmla="*/ 405 w 512"/>
              <a:gd name="T77" fmla="*/ 362 h 512"/>
              <a:gd name="T78" fmla="*/ 416 w 512"/>
              <a:gd name="T79" fmla="*/ 352 h 512"/>
              <a:gd name="T80" fmla="*/ 416 w 512"/>
              <a:gd name="T81" fmla="*/ 298 h 512"/>
              <a:gd name="T82" fmla="*/ 405 w 512"/>
              <a:gd name="T83" fmla="*/ 288 h 512"/>
              <a:gd name="T84" fmla="*/ 224 w 512"/>
              <a:gd name="T85" fmla="*/ 288 h 512"/>
              <a:gd name="T86" fmla="*/ 213 w 512"/>
              <a:gd name="T87" fmla="*/ 298 h 512"/>
              <a:gd name="T88" fmla="*/ 224 w 512"/>
              <a:gd name="T89" fmla="*/ 309 h 512"/>
              <a:gd name="T90" fmla="*/ 405 w 512"/>
              <a:gd name="T91" fmla="*/ 309 h 512"/>
              <a:gd name="T92" fmla="*/ 416 w 512"/>
              <a:gd name="T93" fmla="*/ 298 h 512"/>
              <a:gd name="T94" fmla="*/ 416 w 512"/>
              <a:gd name="T95" fmla="*/ 213 h 512"/>
              <a:gd name="T96" fmla="*/ 405 w 512"/>
              <a:gd name="T97" fmla="*/ 202 h 512"/>
              <a:gd name="T98" fmla="*/ 224 w 512"/>
              <a:gd name="T99" fmla="*/ 202 h 512"/>
              <a:gd name="T100" fmla="*/ 213 w 512"/>
              <a:gd name="T101" fmla="*/ 213 h 512"/>
              <a:gd name="T102" fmla="*/ 224 w 512"/>
              <a:gd name="T103" fmla="*/ 224 h 512"/>
              <a:gd name="T104" fmla="*/ 405 w 512"/>
              <a:gd name="T105" fmla="*/ 224 h 512"/>
              <a:gd name="T106" fmla="*/ 416 w 512"/>
              <a:gd name="T107" fmla="*/ 213 h 512"/>
              <a:gd name="T108" fmla="*/ 416 w 512"/>
              <a:gd name="T109" fmla="*/ 160 h 512"/>
              <a:gd name="T110" fmla="*/ 405 w 512"/>
              <a:gd name="T111" fmla="*/ 149 h 512"/>
              <a:gd name="T112" fmla="*/ 224 w 512"/>
              <a:gd name="T113" fmla="*/ 149 h 512"/>
              <a:gd name="T114" fmla="*/ 213 w 512"/>
              <a:gd name="T115" fmla="*/ 160 h 512"/>
              <a:gd name="T116" fmla="*/ 224 w 512"/>
              <a:gd name="T117" fmla="*/ 170 h 512"/>
              <a:gd name="T118" fmla="*/ 405 w 512"/>
              <a:gd name="T119" fmla="*/ 170 h 512"/>
              <a:gd name="T120" fmla="*/ 416 w 512"/>
              <a:gd name="T121" fmla="*/ 16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117" y="170"/>
                </a:moveTo>
                <a:cubicBezTo>
                  <a:pt x="149" y="170"/>
                  <a:pt x="149" y="170"/>
                  <a:pt x="149" y="170"/>
                </a:cubicBezTo>
                <a:cubicBezTo>
                  <a:pt x="149" y="202"/>
                  <a:pt x="149" y="202"/>
                  <a:pt x="149" y="202"/>
                </a:cubicBezTo>
                <a:cubicBezTo>
                  <a:pt x="117" y="202"/>
                  <a:pt x="117" y="202"/>
                  <a:pt x="117" y="202"/>
                </a:cubicBezTo>
                <a:lnTo>
                  <a:pt x="117" y="170"/>
                </a:lnTo>
                <a:close/>
                <a:moveTo>
                  <a:pt x="117" y="341"/>
                </a:moveTo>
                <a:cubicBezTo>
                  <a:pt x="149" y="341"/>
                  <a:pt x="149" y="341"/>
                  <a:pt x="149" y="341"/>
                </a:cubicBezTo>
                <a:cubicBezTo>
                  <a:pt x="149" y="309"/>
                  <a:pt x="149" y="309"/>
                  <a:pt x="149" y="309"/>
                </a:cubicBezTo>
                <a:cubicBezTo>
                  <a:pt x="117" y="309"/>
                  <a:pt x="117" y="309"/>
                  <a:pt x="117" y="309"/>
                </a:cubicBezTo>
                <a:lnTo>
                  <a:pt x="117" y="341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70" y="298"/>
                </a:moveTo>
                <a:cubicBezTo>
                  <a:pt x="170" y="292"/>
                  <a:pt x="166" y="288"/>
                  <a:pt x="160" y="288"/>
                </a:cubicBezTo>
                <a:cubicBezTo>
                  <a:pt x="106" y="288"/>
                  <a:pt x="106" y="288"/>
                  <a:pt x="106" y="288"/>
                </a:cubicBezTo>
                <a:cubicBezTo>
                  <a:pt x="100" y="288"/>
                  <a:pt x="96" y="292"/>
                  <a:pt x="96" y="298"/>
                </a:cubicBezTo>
                <a:cubicBezTo>
                  <a:pt x="96" y="352"/>
                  <a:pt x="96" y="352"/>
                  <a:pt x="96" y="352"/>
                </a:cubicBezTo>
                <a:cubicBezTo>
                  <a:pt x="96" y="358"/>
                  <a:pt x="100" y="362"/>
                  <a:pt x="106" y="362"/>
                </a:cubicBezTo>
                <a:cubicBezTo>
                  <a:pt x="160" y="362"/>
                  <a:pt x="160" y="362"/>
                  <a:pt x="160" y="362"/>
                </a:cubicBezTo>
                <a:cubicBezTo>
                  <a:pt x="166" y="362"/>
                  <a:pt x="170" y="358"/>
                  <a:pt x="170" y="352"/>
                </a:cubicBezTo>
                <a:lnTo>
                  <a:pt x="170" y="298"/>
                </a:lnTo>
                <a:close/>
                <a:moveTo>
                  <a:pt x="170" y="160"/>
                </a:moveTo>
                <a:cubicBezTo>
                  <a:pt x="170" y="154"/>
                  <a:pt x="166" y="149"/>
                  <a:pt x="160" y="149"/>
                </a:cubicBezTo>
                <a:cubicBezTo>
                  <a:pt x="106" y="149"/>
                  <a:pt x="106" y="149"/>
                  <a:pt x="106" y="149"/>
                </a:cubicBezTo>
                <a:cubicBezTo>
                  <a:pt x="100" y="149"/>
                  <a:pt x="96" y="154"/>
                  <a:pt x="96" y="160"/>
                </a:cubicBezTo>
                <a:cubicBezTo>
                  <a:pt x="96" y="213"/>
                  <a:pt x="96" y="213"/>
                  <a:pt x="96" y="213"/>
                </a:cubicBezTo>
                <a:cubicBezTo>
                  <a:pt x="96" y="219"/>
                  <a:pt x="100" y="224"/>
                  <a:pt x="106" y="224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6" y="224"/>
                  <a:pt x="170" y="219"/>
                  <a:pt x="170" y="213"/>
                </a:cubicBezTo>
                <a:lnTo>
                  <a:pt x="170" y="160"/>
                </a:lnTo>
                <a:close/>
                <a:moveTo>
                  <a:pt x="416" y="352"/>
                </a:moveTo>
                <a:cubicBezTo>
                  <a:pt x="416" y="346"/>
                  <a:pt x="411" y="341"/>
                  <a:pt x="405" y="341"/>
                </a:cubicBezTo>
                <a:cubicBezTo>
                  <a:pt x="224" y="341"/>
                  <a:pt x="224" y="341"/>
                  <a:pt x="224" y="341"/>
                </a:cubicBezTo>
                <a:cubicBezTo>
                  <a:pt x="218" y="341"/>
                  <a:pt x="213" y="346"/>
                  <a:pt x="213" y="352"/>
                </a:cubicBezTo>
                <a:cubicBezTo>
                  <a:pt x="213" y="358"/>
                  <a:pt x="218" y="362"/>
                  <a:pt x="224" y="362"/>
                </a:cubicBezTo>
                <a:cubicBezTo>
                  <a:pt x="405" y="362"/>
                  <a:pt x="405" y="362"/>
                  <a:pt x="405" y="362"/>
                </a:cubicBezTo>
                <a:cubicBezTo>
                  <a:pt x="411" y="362"/>
                  <a:pt x="416" y="358"/>
                  <a:pt x="416" y="352"/>
                </a:cubicBezTo>
                <a:close/>
                <a:moveTo>
                  <a:pt x="416" y="298"/>
                </a:moveTo>
                <a:cubicBezTo>
                  <a:pt x="416" y="292"/>
                  <a:pt x="411" y="288"/>
                  <a:pt x="405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18" y="288"/>
                  <a:pt x="213" y="292"/>
                  <a:pt x="213" y="298"/>
                </a:cubicBezTo>
                <a:cubicBezTo>
                  <a:pt x="213" y="304"/>
                  <a:pt x="218" y="309"/>
                  <a:pt x="224" y="309"/>
                </a:cubicBezTo>
                <a:cubicBezTo>
                  <a:pt x="405" y="309"/>
                  <a:pt x="405" y="309"/>
                  <a:pt x="405" y="309"/>
                </a:cubicBezTo>
                <a:cubicBezTo>
                  <a:pt x="411" y="309"/>
                  <a:pt x="416" y="304"/>
                  <a:pt x="416" y="298"/>
                </a:cubicBezTo>
                <a:close/>
                <a:moveTo>
                  <a:pt x="416" y="213"/>
                </a:moveTo>
                <a:cubicBezTo>
                  <a:pt x="416" y="207"/>
                  <a:pt x="411" y="202"/>
                  <a:pt x="405" y="202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18" y="202"/>
                  <a:pt x="213" y="207"/>
                  <a:pt x="213" y="213"/>
                </a:cubicBezTo>
                <a:cubicBezTo>
                  <a:pt x="213" y="219"/>
                  <a:pt x="218" y="224"/>
                  <a:pt x="224" y="224"/>
                </a:cubicBezTo>
                <a:cubicBezTo>
                  <a:pt x="405" y="224"/>
                  <a:pt x="405" y="224"/>
                  <a:pt x="405" y="224"/>
                </a:cubicBezTo>
                <a:cubicBezTo>
                  <a:pt x="411" y="224"/>
                  <a:pt x="416" y="219"/>
                  <a:pt x="416" y="213"/>
                </a:cubicBezTo>
                <a:close/>
                <a:moveTo>
                  <a:pt x="416" y="160"/>
                </a:moveTo>
                <a:cubicBezTo>
                  <a:pt x="416" y="154"/>
                  <a:pt x="411" y="149"/>
                  <a:pt x="405" y="149"/>
                </a:cubicBezTo>
                <a:cubicBezTo>
                  <a:pt x="224" y="149"/>
                  <a:pt x="224" y="149"/>
                  <a:pt x="224" y="149"/>
                </a:cubicBezTo>
                <a:cubicBezTo>
                  <a:pt x="218" y="149"/>
                  <a:pt x="213" y="154"/>
                  <a:pt x="213" y="160"/>
                </a:cubicBezTo>
                <a:cubicBezTo>
                  <a:pt x="213" y="166"/>
                  <a:pt x="218" y="170"/>
                  <a:pt x="224" y="170"/>
                </a:cubicBezTo>
                <a:cubicBezTo>
                  <a:pt x="405" y="170"/>
                  <a:pt x="405" y="170"/>
                  <a:pt x="405" y="170"/>
                </a:cubicBezTo>
                <a:cubicBezTo>
                  <a:pt x="411" y="170"/>
                  <a:pt x="416" y="166"/>
                  <a:pt x="416" y="160"/>
                </a:cubicBezTo>
                <a:close/>
              </a:path>
            </a:pathLst>
          </a:custGeom>
          <a:solidFill>
            <a:srgbClr val="6936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" name="Freeform 430">
            <a:extLst>
              <a:ext uri="{FF2B5EF4-FFF2-40B4-BE49-F238E27FC236}">
                <a16:creationId xmlns:a16="http://schemas.microsoft.com/office/drawing/2014/main" id="{1DF909B2-89F2-4A03-85DF-49D741A15C5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00472" y="3372707"/>
            <a:ext cx="493649" cy="493649"/>
          </a:xfrm>
          <a:custGeom>
            <a:avLst/>
            <a:gdLst>
              <a:gd name="T0" fmla="*/ 235 w 512"/>
              <a:gd name="T1" fmla="*/ 139 h 512"/>
              <a:gd name="T2" fmla="*/ 256 w 512"/>
              <a:gd name="T3" fmla="*/ 118 h 512"/>
              <a:gd name="T4" fmla="*/ 277 w 512"/>
              <a:gd name="T5" fmla="*/ 139 h 512"/>
              <a:gd name="T6" fmla="*/ 256 w 512"/>
              <a:gd name="T7" fmla="*/ 160 h 512"/>
              <a:gd name="T8" fmla="*/ 235 w 512"/>
              <a:gd name="T9" fmla="*/ 139 h 512"/>
              <a:gd name="T10" fmla="*/ 267 w 512"/>
              <a:gd name="T11" fmla="*/ 363 h 512"/>
              <a:gd name="T12" fmla="*/ 267 w 512"/>
              <a:gd name="T13" fmla="*/ 224 h 512"/>
              <a:gd name="T14" fmla="*/ 213 w 512"/>
              <a:gd name="T15" fmla="*/ 224 h 512"/>
              <a:gd name="T16" fmla="*/ 213 w 512"/>
              <a:gd name="T17" fmla="*/ 246 h 512"/>
              <a:gd name="T18" fmla="*/ 235 w 512"/>
              <a:gd name="T19" fmla="*/ 246 h 512"/>
              <a:gd name="T20" fmla="*/ 245 w 512"/>
              <a:gd name="T21" fmla="*/ 256 h 512"/>
              <a:gd name="T22" fmla="*/ 245 w 512"/>
              <a:gd name="T23" fmla="*/ 363 h 512"/>
              <a:gd name="T24" fmla="*/ 235 w 512"/>
              <a:gd name="T25" fmla="*/ 374 h 512"/>
              <a:gd name="T26" fmla="*/ 203 w 512"/>
              <a:gd name="T27" fmla="*/ 374 h 512"/>
              <a:gd name="T28" fmla="*/ 203 w 512"/>
              <a:gd name="T29" fmla="*/ 395 h 512"/>
              <a:gd name="T30" fmla="*/ 309 w 512"/>
              <a:gd name="T31" fmla="*/ 395 h 512"/>
              <a:gd name="T32" fmla="*/ 309 w 512"/>
              <a:gd name="T33" fmla="*/ 374 h 512"/>
              <a:gd name="T34" fmla="*/ 277 w 512"/>
              <a:gd name="T35" fmla="*/ 374 h 512"/>
              <a:gd name="T36" fmla="*/ 267 w 512"/>
              <a:gd name="T37" fmla="*/ 363 h 512"/>
              <a:gd name="T38" fmla="*/ 512 w 512"/>
              <a:gd name="T39" fmla="*/ 256 h 512"/>
              <a:gd name="T40" fmla="*/ 256 w 512"/>
              <a:gd name="T41" fmla="*/ 512 h 512"/>
              <a:gd name="T42" fmla="*/ 0 w 512"/>
              <a:gd name="T43" fmla="*/ 256 h 512"/>
              <a:gd name="T44" fmla="*/ 256 w 512"/>
              <a:gd name="T45" fmla="*/ 0 h 512"/>
              <a:gd name="T46" fmla="*/ 512 w 512"/>
              <a:gd name="T47" fmla="*/ 256 h 512"/>
              <a:gd name="T48" fmla="*/ 213 w 512"/>
              <a:gd name="T49" fmla="*/ 139 h 512"/>
              <a:gd name="T50" fmla="*/ 256 w 512"/>
              <a:gd name="T51" fmla="*/ 182 h 512"/>
              <a:gd name="T52" fmla="*/ 299 w 512"/>
              <a:gd name="T53" fmla="*/ 139 h 512"/>
              <a:gd name="T54" fmla="*/ 256 w 512"/>
              <a:gd name="T55" fmla="*/ 96 h 512"/>
              <a:gd name="T56" fmla="*/ 213 w 512"/>
              <a:gd name="T57" fmla="*/ 139 h 512"/>
              <a:gd name="T58" fmla="*/ 331 w 512"/>
              <a:gd name="T59" fmla="*/ 363 h 512"/>
              <a:gd name="T60" fmla="*/ 320 w 512"/>
              <a:gd name="T61" fmla="*/ 352 h 512"/>
              <a:gd name="T62" fmla="*/ 288 w 512"/>
              <a:gd name="T63" fmla="*/ 352 h 512"/>
              <a:gd name="T64" fmla="*/ 288 w 512"/>
              <a:gd name="T65" fmla="*/ 214 h 512"/>
              <a:gd name="T66" fmla="*/ 277 w 512"/>
              <a:gd name="T67" fmla="*/ 203 h 512"/>
              <a:gd name="T68" fmla="*/ 203 w 512"/>
              <a:gd name="T69" fmla="*/ 203 h 512"/>
              <a:gd name="T70" fmla="*/ 192 w 512"/>
              <a:gd name="T71" fmla="*/ 214 h 512"/>
              <a:gd name="T72" fmla="*/ 192 w 512"/>
              <a:gd name="T73" fmla="*/ 256 h 512"/>
              <a:gd name="T74" fmla="*/ 203 w 512"/>
              <a:gd name="T75" fmla="*/ 267 h 512"/>
              <a:gd name="T76" fmla="*/ 224 w 512"/>
              <a:gd name="T77" fmla="*/ 267 h 512"/>
              <a:gd name="T78" fmla="*/ 224 w 512"/>
              <a:gd name="T79" fmla="*/ 352 h 512"/>
              <a:gd name="T80" fmla="*/ 192 w 512"/>
              <a:gd name="T81" fmla="*/ 352 h 512"/>
              <a:gd name="T82" fmla="*/ 181 w 512"/>
              <a:gd name="T83" fmla="*/ 363 h 512"/>
              <a:gd name="T84" fmla="*/ 181 w 512"/>
              <a:gd name="T85" fmla="*/ 406 h 512"/>
              <a:gd name="T86" fmla="*/ 192 w 512"/>
              <a:gd name="T87" fmla="*/ 416 h 512"/>
              <a:gd name="T88" fmla="*/ 320 w 512"/>
              <a:gd name="T89" fmla="*/ 416 h 512"/>
              <a:gd name="T90" fmla="*/ 331 w 512"/>
              <a:gd name="T91" fmla="*/ 406 h 512"/>
              <a:gd name="T92" fmla="*/ 331 w 512"/>
              <a:gd name="T93" fmla="*/ 3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35" y="139"/>
                </a:moveTo>
                <a:cubicBezTo>
                  <a:pt x="235" y="127"/>
                  <a:pt x="244" y="118"/>
                  <a:pt x="256" y="118"/>
                </a:cubicBezTo>
                <a:cubicBezTo>
                  <a:pt x="268" y="118"/>
                  <a:pt x="277" y="127"/>
                  <a:pt x="277" y="139"/>
                </a:cubicBezTo>
                <a:cubicBezTo>
                  <a:pt x="277" y="151"/>
                  <a:pt x="268" y="160"/>
                  <a:pt x="256" y="160"/>
                </a:cubicBezTo>
                <a:cubicBezTo>
                  <a:pt x="244" y="160"/>
                  <a:pt x="235" y="151"/>
                  <a:pt x="235" y="139"/>
                </a:cubicBezTo>
                <a:close/>
                <a:moveTo>
                  <a:pt x="267" y="363"/>
                </a:moveTo>
                <a:cubicBezTo>
                  <a:pt x="267" y="224"/>
                  <a:pt x="267" y="224"/>
                  <a:pt x="267" y="224"/>
                </a:cubicBezTo>
                <a:cubicBezTo>
                  <a:pt x="213" y="224"/>
                  <a:pt x="213" y="224"/>
                  <a:pt x="213" y="224"/>
                </a:cubicBezTo>
                <a:cubicBezTo>
                  <a:pt x="213" y="246"/>
                  <a:pt x="213" y="246"/>
                  <a:pt x="213" y="246"/>
                </a:cubicBezTo>
                <a:cubicBezTo>
                  <a:pt x="235" y="246"/>
                  <a:pt x="235" y="246"/>
                  <a:pt x="235" y="246"/>
                </a:cubicBezTo>
                <a:cubicBezTo>
                  <a:pt x="241" y="246"/>
                  <a:pt x="245" y="250"/>
                  <a:pt x="245" y="256"/>
                </a:cubicBezTo>
                <a:cubicBezTo>
                  <a:pt x="245" y="363"/>
                  <a:pt x="245" y="363"/>
                  <a:pt x="245" y="363"/>
                </a:cubicBezTo>
                <a:cubicBezTo>
                  <a:pt x="245" y="369"/>
                  <a:pt x="241" y="374"/>
                  <a:pt x="235" y="374"/>
                </a:cubicBezTo>
                <a:cubicBezTo>
                  <a:pt x="203" y="374"/>
                  <a:pt x="203" y="374"/>
                  <a:pt x="203" y="374"/>
                </a:cubicBezTo>
                <a:cubicBezTo>
                  <a:pt x="203" y="395"/>
                  <a:pt x="203" y="395"/>
                  <a:pt x="203" y="395"/>
                </a:cubicBezTo>
                <a:cubicBezTo>
                  <a:pt x="309" y="395"/>
                  <a:pt x="309" y="395"/>
                  <a:pt x="309" y="395"/>
                </a:cubicBezTo>
                <a:cubicBezTo>
                  <a:pt x="309" y="374"/>
                  <a:pt x="309" y="374"/>
                  <a:pt x="309" y="374"/>
                </a:cubicBezTo>
                <a:cubicBezTo>
                  <a:pt x="277" y="374"/>
                  <a:pt x="277" y="374"/>
                  <a:pt x="277" y="374"/>
                </a:cubicBezTo>
                <a:cubicBezTo>
                  <a:pt x="271" y="374"/>
                  <a:pt x="267" y="369"/>
                  <a:pt x="267" y="363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213" y="139"/>
                </a:moveTo>
                <a:cubicBezTo>
                  <a:pt x="213" y="163"/>
                  <a:pt x="232" y="182"/>
                  <a:pt x="256" y="182"/>
                </a:cubicBezTo>
                <a:cubicBezTo>
                  <a:pt x="280" y="182"/>
                  <a:pt x="299" y="163"/>
                  <a:pt x="299" y="139"/>
                </a:cubicBezTo>
                <a:cubicBezTo>
                  <a:pt x="299" y="115"/>
                  <a:pt x="280" y="96"/>
                  <a:pt x="256" y="96"/>
                </a:cubicBezTo>
                <a:cubicBezTo>
                  <a:pt x="232" y="96"/>
                  <a:pt x="213" y="115"/>
                  <a:pt x="213" y="139"/>
                </a:cubicBezTo>
                <a:close/>
                <a:moveTo>
                  <a:pt x="331" y="363"/>
                </a:moveTo>
                <a:cubicBezTo>
                  <a:pt x="331" y="357"/>
                  <a:pt x="326" y="352"/>
                  <a:pt x="320" y="352"/>
                </a:cubicBezTo>
                <a:cubicBezTo>
                  <a:pt x="288" y="352"/>
                  <a:pt x="288" y="352"/>
                  <a:pt x="288" y="352"/>
                </a:cubicBezTo>
                <a:cubicBezTo>
                  <a:pt x="288" y="214"/>
                  <a:pt x="288" y="214"/>
                  <a:pt x="288" y="214"/>
                </a:cubicBezTo>
                <a:cubicBezTo>
                  <a:pt x="288" y="208"/>
                  <a:pt x="283" y="203"/>
                  <a:pt x="277" y="203"/>
                </a:cubicBezTo>
                <a:cubicBezTo>
                  <a:pt x="203" y="203"/>
                  <a:pt x="203" y="203"/>
                  <a:pt x="203" y="203"/>
                </a:cubicBezTo>
                <a:cubicBezTo>
                  <a:pt x="197" y="203"/>
                  <a:pt x="192" y="208"/>
                  <a:pt x="192" y="214"/>
                </a:cubicBezTo>
                <a:cubicBezTo>
                  <a:pt x="192" y="256"/>
                  <a:pt x="192" y="256"/>
                  <a:pt x="192" y="256"/>
                </a:cubicBezTo>
                <a:cubicBezTo>
                  <a:pt x="192" y="262"/>
                  <a:pt x="197" y="267"/>
                  <a:pt x="203" y="267"/>
                </a:cubicBezTo>
                <a:cubicBezTo>
                  <a:pt x="224" y="267"/>
                  <a:pt x="224" y="267"/>
                  <a:pt x="224" y="267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192" y="352"/>
                  <a:pt x="192" y="352"/>
                  <a:pt x="192" y="352"/>
                </a:cubicBezTo>
                <a:cubicBezTo>
                  <a:pt x="186" y="352"/>
                  <a:pt x="181" y="357"/>
                  <a:pt x="181" y="363"/>
                </a:cubicBezTo>
                <a:cubicBezTo>
                  <a:pt x="181" y="406"/>
                  <a:pt x="181" y="406"/>
                  <a:pt x="181" y="406"/>
                </a:cubicBezTo>
                <a:cubicBezTo>
                  <a:pt x="181" y="412"/>
                  <a:pt x="186" y="416"/>
                  <a:pt x="192" y="416"/>
                </a:cubicBezTo>
                <a:cubicBezTo>
                  <a:pt x="320" y="416"/>
                  <a:pt x="320" y="416"/>
                  <a:pt x="320" y="416"/>
                </a:cubicBezTo>
                <a:cubicBezTo>
                  <a:pt x="326" y="416"/>
                  <a:pt x="331" y="412"/>
                  <a:pt x="331" y="406"/>
                </a:cubicBezTo>
                <a:lnTo>
                  <a:pt x="331" y="363"/>
                </a:lnTo>
                <a:close/>
              </a:path>
            </a:pathLst>
          </a:custGeom>
          <a:solidFill>
            <a:srgbClr val="6936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0" name="Group 437">
            <a:extLst>
              <a:ext uri="{FF2B5EF4-FFF2-40B4-BE49-F238E27FC236}">
                <a16:creationId xmlns:a16="http://schemas.microsoft.com/office/drawing/2014/main" id="{6605ED05-D57A-4BDF-856B-13EE8F703B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7836" y="4170923"/>
            <a:ext cx="497193" cy="497193"/>
            <a:chOff x="3130" y="1561"/>
            <a:chExt cx="340" cy="340"/>
          </a:xfrm>
          <a:solidFill>
            <a:srgbClr val="69369B"/>
          </a:solidFill>
        </p:grpSpPr>
        <p:sp>
          <p:nvSpPr>
            <p:cNvPr id="11" name="Freeform 438">
              <a:extLst>
                <a:ext uri="{FF2B5EF4-FFF2-40B4-BE49-F238E27FC236}">
                  <a16:creationId xmlns:a16="http://schemas.microsoft.com/office/drawing/2014/main" id="{E01340E6-8CE4-4106-A873-8CEE5BA28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7" y="1696"/>
              <a:ext cx="28" cy="28"/>
            </a:xfrm>
            <a:custGeom>
              <a:avLst/>
              <a:gdLst>
                <a:gd name="T0" fmla="*/ 0 w 42"/>
                <a:gd name="T1" fmla="*/ 0 h 42"/>
                <a:gd name="T2" fmla="*/ 0 w 42"/>
                <a:gd name="T3" fmla="*/ 42 h 42"/>
                <a:gd name="T4" fmla="*/ 42 w 42"/>
                <a:gd name="T5" fmla="*/ 42 h 42"/>
                <a:gd name="T6" fmla="*/ 0 w 42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0" y="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38" y="21"/>
                    <a:pt x="21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Freeform 439">
              <a:extLst>
                <a:ext uri="{FF2B5EF4-FFF2-40B4-BE49-F238E27FC236}">
                  <a16:creationId xmlns:a16="http://schemas.microsoft.com/office/drawing/2014/main" id="{37296C3D-4A45-42CF-AD4A-114890310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5" y="1696"/>
              <a:ext cx="28" cy="28"/>
            </a:xfrm>
            <a:custGeom>
              <a:avLst/>
              <a:gdLst>
                <a:gd name="T0" fmla="*/ 0 w 42"/>
                <a:gd name="T1" fmla="*/ 42 h 42"/>
                <a:gd name="T2" fmla="*/ 42 w 42"/>
                <a:gd name="T3" fmla="*/ 42 h 42"/>
                <a:gd name="T4" fmla="*/ 42 w 42"/>
                <a:gd name="T5" fmla="*/ 0 h 42"/>
                <a:gd name="T6" fmla="*/ 0 w 42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0" y="42"/>
                  </a:moveTo>
                  <a:cubicBezTo>
                    <a:pt x="42" y="42"/>
                    <a:pt x="42" y="42"/>
                    <a:pt x="42" y="42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1" y="5"/>
                    <a:pt x="5" y="21"/>
                    <a:pt x="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Freeform 440">
              <a:extLst>
                <a:ext uri="{FF2B5EF4-FFF2-40B4-BE49-F238E27FC236}">
                  <a16:creationId xmlns:a16="http://schemas.microsoft.com/office/drawing/2014/main" id="{BB22BC82-69C2-4EA3-BFE0-F30626BAA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0" y="1661"/>
              <a:ext cx="63" cy="63"/>
            </a:xfrm>
            <a:custGeom>
              <a:avLst/>
              <a:gdLst>
                <a:gd name="T0" fmla="*/ 0 w 95"/>
                <a:gd name="T1" fmla="*/ 95 h 95"/>
                <a:gd name="T2" fmla="*/ 32 w 95"/>
                <a:gd name="T3" fmla="*/ 95 h 95"/>
                <a:gd name="T4" fmla="*/ 95 w 95"/>
                <a:gd name="T5" fmla="*/ 32 h 95"/>
                <a:gd name="T6" fmla="*/ 95 w 95"/>
                <a:gd name="T7" fmla="*/ 0 h 95"/>
                <a:gd name="T8" fmla="*/ 0 w 95"/>
                <a:gd name="T9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0" y="95"/>
                  </a:moveTo>
                  <a:cubicBezTo>
                    <a:pt x="32" y="95"/>
                    <a:pt x="32" y="95"/>
                    <a:pt x="32" y="95"/>
                  </a:cubicBezTo>
                  <a:cubicBezTo>
                    <a:pt x="37" y="62"/>
                    <a:pt x="62" y="37"/>
                    <a:pt x="95" y="32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5" y="5"/>
                    <a:pt x="5" y="45"/>
                    <a:pt x="0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441">
              <a:extLst>
                <a:ext uri="{FF2B5EF4-FFF2-40B4-BE49-F238E27FC236}">
                  <a16:creationId xmlns:a16="http://schemas.microsoft.com/office/drawing/2014/main" id="{1D3CEB6C-57C8-4253-90B7-D1342942B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5" y="1738"/>
              <a:ext cx="28" cy="28"/>
            </a:xfrm>
            <a:custGeom>
              <a:avLst/>
              <a:gdLst>
                <a:gd name="T0" fmla="*/ 42 w 42"/>
                <a:gd name="T1" fmla="*/ 42 h 42"/>
                <a:gd name="T2" fmla="*/ 42 w 42"/>
                <a:gd name="T3" fmla="*/ 0 h 42"/>
                <a:gd name="T4" fmla="*/ 0 w 42"/>
                <a:gd name="T5" fmla="*/ 0 h 42"/>
                <a:gd name="T6" fmla="*/ 42 w 42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42" y="42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21"/>
                    <a:pt x="21" y="38"/>
                    <a:pt x="4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Freeform 442">
              <a:extLst>
                <a:ext uri="{FF2B5EF4-FFF2-40B4-BE49-F238E27FC236}">
                  <a16:creationId xmlns:a16="http://schemas.microsoft.com/office/drawing/2014/main" id="{37CBB4DE-2D6B-4C16-A098-C85B8A484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0" y="1738"/>
              <a:ext cx="63" cy="63"/>
            </a:xfrm>
            <a:custGeom>
              <a:avLst/>
              <a:gdLst>
                <a:gd name="T0" fmla="*/ 32 w 95"/>
                <a:gd name="T1" fmla="*/ 0 h 96"/>
                <a:gd name="T2" fmla="*/ 0 w 95"/>
                <a:gd name="T3" fmla="*/ 0 h 96"/>
                <a:gd name="T4" fmla="*/ 95 w 95"/>
                <a:gd name="T5" fmla="*/ 96 h 96"/>
                <a:gd name="T6" fmla="*/ 95 w 95"/>
                <a:gd name="T7" fmla="*/ 63 h 96"/>
                <a:gd name="T8" fmla="*/ 32 w 95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6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51"/>
                    <a:pt x="45" y="91"/>
                    <a:pt x="95" y="96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62" y="59"/>
                    <a:pt x="37" y="33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Freeform 443">
              <a:extLst>
                <a:ext uri="{FF2B5EF4-FFF2-40B4-BE49-F238E27FC236}">
                  <a16:creationId xmlns:a16="http://schemas.microsoft.com/office/drawing/2014/main" id="{1046852B-5CE5-4DBC-B08E-C436716C3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7" y="1738"/>
              <a:ext cx="28" cy="28"/>
            </a:xfrm>
            <a:custGeom>
              <a:avLst/>
              <a:gdLst>
                <a:gd name="T0" fmla="*/ 42 w 42"/>
                <a:gd name="T1" fmla="*/ 0 h 42"/>
                <a:gd name="T2" fmla="*/ 0 w 42"/>
                <a:gd name="T3" fmla="*/ 0 h 42"/>
                <a:gd name="T4" fmla="*/ 0 w 42"/>
                <a:gd name="T5" fmla="*/ 42 h 42"/>
                <a:gd name="T6" fmla="*/ 42 w 42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1" y="38"/>
                    <a:pt x="38" y="21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444">
              <a:extLst>
                <a:ext uri="{FF2B5EF4-FFF2-40B4-BE49-F238E27FC236}">
                  <a16:creationId xmlns:a16="http://schemas.microsoft.com/office/drawing/2014/main" id="{80F4A327-894A-49B0-8AF4-E08F74150F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0" y="1561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05 w 512"/>
                <a:gd name="T11" fmla="*/ 266 h 512"/>
                <a:gd name="T12" fmla="*/ 383 w 512"/>
                <a:gd name="T13" fmla="*/ 266 h 512"/>
                <a:gd name="T14" fmla="*/ 266 w 512"/>
                <a:gd name="T15" fmla="*/ 383 h 512"/>
                <a:gd name="T16" fmla="*/ 266 w 512"/>
                <a:gd name="T17" fmla="*/ 405 h 512"/>
                <a:gd name="T18" fmla="*/ 256 w 512"/>
                <a:gd name="T19" fmla="*/ 416 h 512"/>
                <a:gd name="T20" fmla="*/ 245 w 512"/>
                <a:gd name="T21" fmla="*/ 405 h 512"/>
                <a:gd name="T22" fmla="*/ 245 w 512"/>
                <a:gd name="T23" fmla="*/ 383 h 512"/>
                <a:gd name="T24" fmla="*/ 128 w 512"/>
                <a:gd name="T25" fmla="*/ 266 h 512"/>
                <a:gd name="T26" fmla="*/ 106 w 512"/>
                <a:gd name="T27" fmla="*/ 266 h 512"/>
                <a:gd name="T28" fmla="*/ 96 w 512"/>
                <a:gd name="T29" fmla="*/ 256 h 512"/>
                <a:gd name="T30" fmla="*/ 106 w 512"/>
                <a:gd name="T31" fmla="*/ 245 h 512"/>
                <a:gd name="T32" fmla="*/ 128 w 512"/>
                <a:gd name="T33" fmla="*/ 245 h 512"/>
                <a:gd name="T34" fmla="*/ 245 w 512"/>
                <a:gd name="T35" fmla="*/ 128 h 512"/>
                <a:gd name="T36" fmla="*/ 245 w 512"/>
                <a:gd name="T37" fmla="*/ 106 h 512"/>
                <a:gd name="T38" fmla="*/ 256 w 512"/>
                <a:gd name="T39" fmla="*/ 96 h 512"/>
                <a:gd name="T40" fmla="*/ 266 w 512"/>
                <a:gd name="T41" fmla="*/ 106 h 512"/>
                <a:gd name="T42" fmla="*/ 266 w 512"/>
                <a:gd name="T43" fmla="*/ 128 h 512"/>
                <a:gd name="T44" fmla="*/ 383 w 512"/>
                <a:gd name="T45" fmla="*/ 245 h 512"/>
                <a:gd name="T46" fmla="*/ 405 w 512"/>
                <a:gd name="T47" fmla="*/ 245 h 512"/>
                <a:gd name="T48" fmla="*/ 416 w 512"/>
                <a:gd name="T49" fmla="*/ 256 h 512"/>
                <a:gd name="T50" fmla="*/ 405 w 512"/>
                <a:gd name="T51" fmla="*/ 26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05" y="266"/>
                  </a:moveTo>
                  <a:cubicBezTo>
                    <a:pt x="383" y="266"/>
                    <a:pt x="383" y="266"/>
                    <a:pt x="383" y="266"/>
                  </a:cubicBezTo>
                  <a:cubicBezTo>
                    <a:pt x="378" y="328"/>
                    <a:pt x="328" y="378"/>
                    <a:pt x="266" y="383"/>
                  </a:cubicBezTo>
                  <a:cubicBezTo>
                    <a:pt x="266" y="405"/>
                    <a:pt x="266" y="405"/>
                    <a:pt x="266" y="405"/>
                  </a:cubicBezTo>
                  <a:cubicBezTo>
                    <a:pt x="266" y="411"/>
                    <a:pt x="262" y="416"/>
                    <a:pt x="256" y="416"/>
                  </a:cubicBezTo>
                  <a:cubicBezTo>
                    <a:pt x="250" y="416"/>
                    <a:pt x="245" y="411"/>
                    <a:pt x="245" y="405"/>
                  </a:cubicBezTo>
                  <a:cubicBezTo>
                    <a:pt x="245" y="383"/>
                    <a:pt x="245" y="383"/>
                    <a:pt x="245" y="383"/>
                  </a:cubicBezTo>
                  <a:cubicBezTo>
                    <a:pt x="183" y="378"/>
                    <a:pt x="133" y="328"/>
                    <a:pt x="128" y="266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0" y="266"/>
                    <a:pt x="96" y="262"/>
                    <a:pt x="96" y="256"/>
                  </a:cubicBezTo>
                  <a:cubicBezTo>
                    <a:pt x="96" y="250"/>
                    <a:pt x="100" y="245"/>
                    <a:pt x="106" y="245"/>
                  </a:cubicBezTo>
                  <a:cubicBezTo>
                    <a:pt x="128" y="245"/>
                    <a:pt x="128" y="245"/>
                    <a:pt x="128" y="245"/>
                  </a:cubicBezTo>
                  <a:cubicBezTo>
                    <a:pt x="133" y="183"/>
                    <a:pt x="183" y="133"/>
                    <a:pt x="245" y="128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128"/>
                    <a:pt x="266" y="128"/>
                    <a:pt x="266" y="128"/>
                  </a:cubicBezTo>
                  <a:cubicBezTo>
                    <a:pt x="328" y="133"/>
                    <a:pt x="378" y="183"/>
                    <a:pt x="383" y="245"/>
                  </a:cubicBezTo>
                  <a:cubicBezTo>
                    <a:pt x="405" y="245"/>
                    <a:pt x="405" y="245"/>
                    <a:pt x="405" y="245"/>
                  </a:cubicBezTo>
                  <a:cubicBezTo>
                    <a:pt x="411" y="245"/>
                    <a:pt x="416" y="250"/>
                    <a:pt x="416" y="256"/>
                  </a:cubicBezTo>
                  <a:cubicBezTo>
                    <a:pt x="416" y="262"/>
                    <a:pt x="411" y="266"/>
                    <a:pt x="405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445">
              <a:extLst>
                <a:ext uri="{FF2B5EF4-FFF2-40B4-BE49-F238E27FC236}">
                  <a16:creationId xmlns:a16="http://schemas.microsoft.com/office/drawing/2014/main" id="{EA486D8B-5081-4EA7-A73E-56C29ED50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7" y="1661"/>
              <a:ext cx="63" cy="63"/>
            </a:xfrm>
            <a:custGeom>
              <a:avLst/>
              <a:gdLst>
                <a:gd name="T0" fmla="*/ 0 w 96"/>
                <a:gd name="T1" fmla="*/ 0 h 95"/>
                <a:gd name="T2" fmla="*/ 0 w 96"/>
                <a:gd name="T3" fmla="*/ 32 h 95"/>
                <a:gd name="T4" fmla="*/ 63 w 96"/>
                <a:gd name="T5" fmla="*/ 95 h 95"/>
                <a:gd name="T6" fmla="*/ 96 w 96"/>
                <a:gd name="T7" fmla="*/ 95 h 95"/>
                <a:gd name="T8" fmla="*/ 0 w 9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5">
                  <a:moveTo>
                    <a:pt x="0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33" y="37"/>
                    <a:pt x="59" y="62"/>
                    <a:pt x="63" y="95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1" y="45"/>
                    <a:pt x="51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446">
              <a:extLst>
                <a:ext uri="{FF2B5EF4-FFF2-40B4-BE49-F238E27FC236}">
                  <a16:creationId xmlns:a16="http://schemas.microsoft.com/office/drawing/2014/main" id="{3C074586-5108-4C5B-ABCB-12FD0703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7" y="1738"/>
              <a:ext cx="63" cy="63"/>
            </a:xfrm>
            <a:custGeom>
              <a:avLst/>
              <a:gdLst>
                <a:gd name="T0" fmla="*/ 0 w 96"/>
                <a:gd name="T1" fmla="*/ 63 h 96"/>
                <a:gd name="T2" fmla="*/ 0 w 96"/>
                <a:gd name="T3" fmla="*/ 96 h 96"/>
                <a:gd name="T4" fmla="*/ 96 w 96"/>
                <a:gd name="T5" fmla="*/ 0 h 96"/>
                <a:gd name="T6" fmla="*/ 63 w 96"/>
                <a:gd name="T7" fmla="*/ 0 h 96"/>
                <a:gd name="T8" fmla="*/ 0 w 96"/>
                <a:gd name="T9" fmla="*/ 6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6">
                  <a:moveTo>
                    <a:pt x="0" y="63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51" y="91"/>
                    <a:pt x="91" y="51"/>
                    <a:pt x="96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59" y="33"/>
                    <a:pt x="33" y="59"/>
                    <a:pt x="0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008175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34E893-76BE-487F-B6AD-12161707E9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89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34E893-76BE-487F-B6AD-12161707E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A0D70B-59B5-4B03-9CF7-EED5E3FCB2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882EB-0E06-4F36-A177-3BDC832300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141" y="574846"/>
            <a:ext cx="10515600" cy="1036293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69369B"/>
                </a:solidFill>
                <a:latin typeface="Arial Black" panose="020B0A04020102020204" pitchFamily="34" charset="0"/>
              </a:rPr>
              <a:t>Housekeeping</a:t>
            </a:r>
            <a:endParaRPr lang="nl-NL" sz="3600" b="1" dirty="0">
              <a:solidFill>
                <a:srgbClr val="69369B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EAE807-CC05-440C-93C0-DDE3F87C3E61}"/>
              </a:ext>
            </a:extLst>
          </p:cNvPr>
          <p:cNvSpPr txBox="1"/>
          <p:nvPr/>
        </p:nvSpPr>
        <p:spPr>
          <a:xfrm>
            <a:off x="298174" y="6308209"/>
            <a:ext cx="4890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Access </a:t>
            </a:r>
            <a:r>
              <a:rPr lang="nl-NL" dirty="0" err="1">
                <a:solidFill>
                  <a:schemeClr val="bg1"/>
                </a:solidFill>
              </a:rPr>
              <a:t>session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aterials</a:t>
            </a:r>
            <a:r>
              <a:rPr lang="nl-NL" dirty="0">
                <a:solidFill>
                  <a:schemeClr val="bg1"/>
                </a:solidFill>
              </a:rPr>
              <a:t>: https://bit.ly/3cWcIsV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CA2A26C-51AE-4751-9AAC-D9F8AADD0419}"/>
              </a:ext>
            </a:extLst>
          </p:cNvPr>
          <p:cNvGrpSpPr/>
          <p:nvPr/>
        </p:nvGrpSpPr>
        <p:grpSpPr>
          <a:xfrm>
            <a:off x="6291470" y="141262"/>
            <a:ext cx="5617543" cy="385511"/>
            <a:chOff x="1954696" y="1965704"/>
            <a:chExt cx="6819162" cy="548642"/>
          </a:xfrm>
        </p:grpSpPr>
        <p:sp>
          <p:nvSpPr>
            <p:cNvPr id="9" name="Pentagon 15">
              <a:extLst>
                <a:ext uri="{FF2B5EF4-FFF2-40B4-BE49-F238E27FC236}">
                  <a16:creationId xmlns:a16="http://schemas.microsoft.com/office/drawing/2014/main" id="{F9D53C28-F011-4DD0-BC51-51CC0522DB5A}"/>
                </a:ext>
              </a:extLst>
            </p:cNvPr>
            <p:cNvSpPr/>
            <p:nvPr/>
          </p:nvSpPr>
          <p:spPr>
            <a:xfrm>
              <a:off x="1954696" y="1965704"/>
              <a:ext cx="1828800" cy="548640"/>
            </a:xfrm>
            <a:prstGeom prst="homePlate">
              <a:avLst/>
            </a:prstGeom>
            <a:solidFill>
              <a:srgbClr val="69369B"/>
            </a:solidFill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keeping</a:t>
              </a:r>
            </a:p>
          </p:txBody>
        </p:sp>
        <p:sp>
          <p:nvSpPr>
            <p:cNvPr id="10" name="Chevron 17">
              <a:extLst>
                <a:ext uri="{FF2B5EF4-FFF2-40B4-BE49-F238E27FC236}">
                  <a16:creationId xmlns:a16="http://schemas.microsoft.com/office/drawing/2014/main" id="{B45877E8-2D45-4131-A3C5-DDDACCE289DD}"/>
                </a:ext>
              </a:extLst>
            </p:cNvPr>
            <p:cNvSpPr/>
            <p:nvPr/>
          </p:nvSpPr>
          <p:spPr>
            <a:xfrm>
              <a:off x="3618150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 to R</a:t>
              </a:r>
            </a:p>
          </p:txBody>
        </p:sp>
        <p:sp>
          <p:nvSpPr>
            <p:cNvPr id="11" name="Chevron 18">
              <a:extLst>
                <a:ext uri="{FF2B5EF4-FFF2-40B4-BE49-F238E27FC236}">
                  <a16:creationId xmlns:a16="http://schemas.microsoft.com/office/drawing/2014/main" id="{FF8628C7-5810-4811-8F5F-7F5DAB68A819}"/>
                </a:ext>
              </a:extLst>
            </p:cNvPr>
            <p:cNvSpPr/>
            <p:nvPr/>
          </p:nvSpPr>
          <p:spPr>
            <a:xfrm>
              <a:off x="5281604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Markdown</a:t>
              </a:r>
              <a:endPara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Chevron 24">
              <a:extLst>
                <a:ext uri="{FF2B5EF4-FFF2-40B4-BE49-F238E27FC236}">
                  <a16:creationId xmlns:a16="http://schemas.microsoft.com/office/drawing/2014/main" id="{B0DF6E92-1407-48B4-92A0-01065BAFC8C0}"/>
                </a:ext>
              </a:extLst>
            </p:cNvPr>
            <p:cNvSpPr/>
            <p:nvPr/>
          </p:nvSpPr>
          <p:spPr>
            <a:xfrm>
              <a:off x="6945058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mo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CBFC8F8-D9C6-4885-A2F0-8674EB459362}"/>
              </a:ext>
            </a:extLst>
          </p:cNvPr>
          <p:cNvGrpSpPr/>
          <p:nvPr/>
        </p:nvGrpSpPr>
        <p:grpSpPr>
          <a:xfrm>
            <a:off x="640141" y="1580699"/>
            <a:ext cx="8788701" cy="3729797"/>
            <a:chOff x="579000" y="1763999"/>
            <a:chExt cx="8748000" cy="3712524"/>
          </a:xfrm>
        </p:grpSpPr>
        <p:grpSp>
          <p:nvGrpSpPr>
            <p:cNvPr id="14" name="グループ化 34">
              <a:extLst>
                <a:ext uri="{FF2B5EF4-FFF2-40B4-BE49-F238E27FC236}">
                  <a16:creationId xmlns:a16="http://schemas.microsoft.com/office/drawing/2014/main" id="{BC5D1891-D7B9-43B8-9FD1-4AD85ECECBF2}"/>
                </a:ext>
              </a:extLst>
            </p:cNvPr>
            <p:cNvGrpSpPr/>
            <p:nvPr/>
          </p:nvGrpSpPr>
          <p:grpSpPr>
            <a:xfrm>
              <a:off x="579000" y="1763999"/>
              <a:ext cx="8748000" cy="1273148"/>
              <a:chOff x="579000" y="1763999"/>
              <a:chExt cx="8748000" cy="1273148"/>
            </a:xfrm>
          </p:grpSpPr>
          <p:sp>
            <p:nvSpPr>
              <p:cNvPr id="21" name="フリーフォーム 17">
                <a:extLst>
                  <a:ext uri="{FF2B5EF4-FFF2-40B4-BE49-F238E27FC236}">
                    <a16:creationId xmlns:a16="http://schemas.microsoft.com/office/drawing/2014/main" id="{A1483DC6-264F-45D0-A22E-DB57AD172D67}"/>
                  </a:ext>
                </a:extLst>
              </p:cNvPr>
              <p:cNvSpPr/>
              <p:nvPr/>
            </p:nvSpPr>
            <p:spPr bwMode="gray">
              <a:xfrm>
                <a:off x="579000" y="1763999"/>
                <a:ext cx="8748000" cy="1008000"/>
              </a:xfrm>
              <a:custGeom>
                <a:avLst/>
                <a:gdLst>
                  <a:gd name="connsiteX0" fmla="*/ 504000 w 8748000"/>
                  <a:gd name="connsiteY0" fmla="*/ 0 h 1008000"/>
                  <a:gd name="connsiteX1" fmla="*/ 519058 w 8748000"/>
                  <a:gd name="connsiteY1" fmla="*/ 1518 h 1008000"/>
                  <a:gd name="connsiteX2" fmla="*/ 519058 w 8748000"/>
                  <a:gd name="connsiteY2" fmla="*/ 0 h 1008000"/>
                  <a:gd name="connsiteX3" fmla="*/ 8251258 w 8748000"/>
                  <a:gd name="connsiteY3" fmla="*/ 0 h 1008000"/>
                  <a:gd name="connsiteX4" fmla="*/ 8745019 w 8748000"/>
                  <a:gd name="connsiteY4" fmla="*/ 402426 h 1008000"/>
                  <a:gd name="connsiteX5" fmla="*/ 8748000 w 8748000"/>
                  <a:gd name="connsiteY5" fmla="*/ 432000 h 1008000"/>
                  <a:gd name="connsiteX6" fmla="*/ 1000742 w 8748000"/>
                  <a:gd name="connsiteY6" fmla="*/ 432000 h 1008000"/>
                  <a:gd name="connsiteX7" fmla="*/ 1008000 w 8748000"/>
                  <a:gd name="connsiteY7" fmla="*/ 504000 h 1008000"/>
                  <a:gd name="connsiteX8" fmla="*/ 504000 w 8748000"/>
                  <a:gd name="connsiteY8" fmla="*/ 1008000 h 1008000"/>
                  <a:gd name="connsiteX9" fmla="*/ 0 w 8748000"/>
                  <a:gd name="connsiteY9" fmla="*/ 504000 h 1008000"/>
                  <a:gd name="connsiteX10" fmla="*/ 504000 w 8748000"/>
                  <a:gd name="connsiteY10" fmla="*/ 0 h 10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748000" h="1008000">
                    <a:moveTo>
                      <a:pt x="504000" y="0"/>
                    </a:moveTo>
                    <a:lnTo>
                      <a:pt x="519058" y="1518"/>
                    </a:lnTo>
                    <a:lnTo>
                      <a:pt x="519058" y="0"/>
                    </a:lnTo>
                    <a:lnTo>
                      <a:pt x="8251258" y="0"/>
                    </a:lnTo>
                    <a:cubicBezTo>
                      <a:pt x="8494816" y="0"/>
                      <a:pt x="8698022" y="172762"/>
                      <a:pt x="8745019" y="402426"/>
                    </a:cubicBezTo>
                    <a:lnTo>
                      <a:pt x="8748000" y="432000"/>
                    </a:lnTo>
                    <a:lnTo>
                      <a:pt x="1000742" y="432000"/>
                    </a:lnTo>
                    <a:lnTo>
                      <a:pt x="1008000" y="504000"/>
                    </a:lnTo>
                    <a:cubicBezTo>
                      <a:pt x="1008000" y="782352"/>
                      <a:pt x="782352" y="1008000"/>
                      <a:pt x="504000" y="1008000"/>
                    </a:cubicBezTo>
                    <a:cubicBezTo>
                      <a:pt x="225648" y="1008000"/>
                      <a:pt x="0" y="782352"/>
                      <a:pt x="0" y="504000"/>
                    </a:cubicBezTo>
                    <a:cubicBezTo>
                      <a:pt x="0" y="225648"/>
                      <a:pt x="225648" y="0"/>
                      <a:pt x="504000" y="0"/>
                    </a:cubicBezTo>
                    <a:close/>
                  </a:path>
                </a:pathLst>
              </a:custGeom>
              <a:solidFill>
                <a:srgbClr val="69369B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1008000" tIns="0" rIns="0" bIns="57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360000" marR="0" lvl="0" indent="-360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1" lang="en-US" altLang="ja-JP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 1</a:t>
                </a:r>
                <a:r>
                  <a:rPr kumimoji="1" lang="en-US" altLang="ja-JP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Access RStudio Cloud</a:t>
                </a:r>
                <a:endParaRPr kumimoji="1" lang="ja-JP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grpSp>
            <p:nvGrpSpPr>
              <p:cNvPr id="22" name="Group 897">
                <a:extLst>
                  <a:ext uri="{FF2B5EF4-FFF2-40B4-BE49-F238E27FC236}">
                    <a16:creationId xmlns:a16="http://schemas.microsoft.com/office/drawing/2014/main" id="{52CD33BE-6445-4288-AF13-9F5AFEE5528F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651600" y="1836000"/>
                <a:ext cx="864000" cy="864000"/>
                <a:chOff x="3891" y="3455"/>
                <a:chExt cx="340" cy="340"/>
              </a:xfrm>
              <a:solidFill>
                <a:schemeClr val="bg1"/>
              </a:solidFill>
            </p:grpSpPr>
            <p:sp>
              <p:nvSpPr>
                <p:cNvPr id="24" name="Freeform 898">
                  <a:extLst>
                    <a:ext uri="{FF2B5EF4-FFF2-40B4-BE49-F238E27FC236}">
                      <a16:creationId xmlns:a16="http://schemas.microsoft.com/office/drawing/2014/main" id="{174F5B53-96F1-42B8-8738-8CE6B4F2964F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3891" y="3455"/>
                  <a:ext cx="340" cy="340"/>
                </a:xfrm>
                <a:custGeom>
                  <a:avLst/>
                  <a:gdLst>
                    <a:gd name="T0" fmla="*/ 256 w 512"/>
                    <a:gd name="T1" fmla="*/ 0 h 512"/>
                    <a:gd name="T2" fmla="*/ 0 w 512"/>
                    <a:gd name="T3" fmla="*/ 256 h 512"/>
                    <a:gd name="T4" fmla="*/ 256 w 512"/>
                    <a:gd name="T5" fmla="*/ 512 h 512"/>
                    <a:gd name="T6" fmla="*/ 512 w 512"/>
                    <a:gd name="T7" fmla="*/ 256 h 512"/>
                    <a:gd name="T8" fmla="*/ 256 w 512"/>
                    <a:gd name="T9" fmla="*/ 0 h 512"/>
                    <a:gd name="T10" fmla="*/ 381 w 512"/>
                    <a:gd name="T11" fmla="*/ 381 h 512"/>
                    <a:gd name="T12" fmla="*/ 373 w 512"/>
                    <a:gd name="T13" fmla="*/ 384 h 512"/>
                    <a:gd name="T14" fmla="*/ 365 w 512"/>
                    <a:gd name="T15" fmla="*/ 381 h 512"/>
                    <a:gd name="T16" fmla="*/ 270 w 512"/>
                    <a:gd name="T17" fmla="*/ 285 h 512"/>
                    <a:gd name="T18" fmla="*/ 202 w 512"/>
                    <a:gd name="T19" fmla="*/ 309 h 512"/>
                    <a:gd name="T20" fmla="*/ 96 w 512"/>
                    <a:gd name="T21" fmla="*/ 202 h 512"/>
                    <a:gd name="T22" fmla="*/ 202 w 512"/>
                    <a:gd name="T23" fmla="*/ 96 h 512"/>
                    <a:gd name="T24" fmla="*/ 309 w 512"/>
                    <a:gd name="T25" fmla="*/ 202 h 512"/>
                    <a:gd name="T26" fmla="*/ 285 w 512"/>
                    <a:gd name="T27" fmla="*/ 270 h 512"/>
                    <a:gd name="T28" fmla="*/ 381 w 512"/>
                    <a:gd name="T29" fmla="*/ 365 h 512"/>
                    <a:gd name="T30" fmla="*/ 381 w 512"/>
                    <a:gd name="T31" fmla="*/ 381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12" h="512"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  <a:moveTo>
                        <a:pt x="381" y="381"/>
                      </a:moveTo>
                      <a:cubicBezTo>
                        <a:pt x="378" y="383"/>
                        <a:pt x="376" y="384"/>
                        <a:pt x="373" y="384"/>
                      </a:cubicBezTo>
                      <a:cubicBezTo>
                        <a:pt x="370" y="384"/>
                        <a:pt x="368" y="383"/>
                        <a:pt x="365" y="381"/>
                      </a:cubicBezTo>
                      <a:cubicBezTo>
                        <a:pt x="270" y="285"/>
                        <a:pt x="270" y="285"/>
                        <a:pt x="270" y="285"/>
                      </a:cubicBezTo>
                      <a:cubicBezTo>
                        <a:pt x="251" y="300"/>
                        <a:pt x="228" y="309"/>
                        <a:pt x="202" y="309"/>
                      </a:cubicBezTo>
                      <a:cubicBezTo>
                        <a:pt x="144" y="309"/>
                        <a:pt x="96" y="261"/>
                        <a:pt x="96" y="202"/>
                      </a:cubicBezTo>
                      <a:cubicBezTo>
                        <a:pt x="96" y="144"/>
                        <a:pt x="144" y="96"/>
                        <a:pt x="202" y="96"/>
                      </a:cubicBezTo>
                      <a:cubicBezTo>
                        <a:pt x="261" y="96"/>
                        <a:pt x="309" y="144"/>
                        <a:pt x="309" y="202"/>
                      </a:cubicBezTo>
                      <a:cubicBezTo>
                        <a:pt x="309" y="228"/>
                        <a:pt x="300" y="251"/>
                        <a:pt x="285" y="270"/>
                      </a:cubicBezTo>
                      <a:cubicBezTo>
                        <a:pt x="381" y="365"/>
                        <a:pt x="381" y="365"/>
                        <a:pt x="381" y="365"/>
                      </a:cubicBezTo>
                      <a:cubicBezTo>
                        <a:pt x="385" y="370"/>
                        <a:pt x="385" y="376"/>
                        <a:pt x="381" y="38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Oval 899">
                  <a:extLst>
                    <a:ext uri="{FF2B5EF4-FFF2-40B4-BE49-F238E27FC236}">
                      <a16:creationId xmlns:a16="http://schemas.microsoft.com/office/drawing/2014/main" id="{4C9240E7-9A16-4245-8D17-732B31385C2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3969" y="3533"/>
                  <a:ext cx="113" cy="11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3" name="正方形/長方形 23">
                <a:extLst>
                  <a:ext uri="{FF2B5EF4-FFF2-40B4-BE49-F238E27FC236}">
                    <a16:creationId xmlns:a16="http://schemas.microsoft.com/office/drawing/2014/main" id="{8417A232-FC9B-4739-8E5A-7DE08DD97C2F}"/>
                  </a:ext>
                </a:extLst>
              </p:cNvPr>
              <p:cNvSpPr/>
              <p:nvPr/>
            </p:nvSpPr>
            <p:spPr bwMode="gray">
              <a:xfrm>
                <a:off x="1767000" y="2461147"/>
                <a:ext cx="7560000" cy="576000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  <a:defRPr/>
                </a:pPr>
                <a:r>
                  <a:rPr lang="nl-NL" sz="1100" dirty="0">
                    <a:latin typeface="Arial" panose="020B0604020202020204" pitchFamily="34" charset="0"/>
                    <a:cs typeface="Arial" panose="020B0604020202020204" pitchFamily="34" charset="0"/>
                    <a:hlinkClick r:id="rId7"/>
                  </a:rPr>
                  <a:t>https://rstudio.cloud/spaces/70290/join?access_code=IaaM%2FFet3%2BZkNtTnIQ6xT5gWHW2dtVlisGx8Zhkd</a:t>
                </a:r>
                <a:r>
                  <a:rPr lang="nl-NL" sz="1100" dirty="0">
                    <a:latin typeface="Arial" panose="020B0604020202020204" pitchFamily="34" charset="0"/>
                    <a:cs typeface="Arial" panose="020B0604020202020204" pitchFamily="34" charset="0"/>
                  </a:rPr>
                  <a:t>  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  <a:defRPr/>
                </a:pPr>
                <a:r>
                  <a:rPr kumimoji="1" lang="en-US" altLang="ja-JP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</a:t>
                </a:r>
                <a:r>
                  <a:rPr kumimoji="1" lang="nl-NL" altLang="ja-JP" sz="1100" dirty="0" err="1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gin</a:t>
                </a:r>
                <a:r>
                  <a:rPr kumimoji="1" lang="nl-NL" altLang="ja-JP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kumimoji="1" lang="nl-NL" altLang="ja-JP" sz="1100" dirty="0" err="1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ith</a:t>
                </a:r>
                <a:r>
                  <a:rPr kumimoji="1" lang="nl-NL" altLang="ja-JP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Google or GitHub account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  <a:defRPr/>
                </a:pPr>
                <a:r>
                  <a:rPr kumimoji="1" lang="nl-NL" altLang="ja-JP" sz="1100" dirty="0" err="1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Join</a:t>
                </a:r>
                <a:r>
                  <a:rPr kumimoji="1" lang="nl-NL" altLang="ja-JP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Space &gt; </a:t>
                </a:r>
                <a:r>
                  <a:rPr kumimoji="1" lang="nl-NL" altLang="ja-JP" sz="1100" dirty="0" err="1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jects</a:t>
                </a:r>
                <a:r>
                  <a:rPr kumimoji="1" lang="nl-NL" altLang="ja-JP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&gt; </a:t>
                </a:r>
                <a:r>
                  <a:rPr kumimoji="1" lang="nl-NL" altLang="ja-JP" sz="1100" dirty="0" err="1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omenTech</a:t>
                </a:r>
                <a:endParaRPr kumimoji="1" lang="nl-NL" altLang="ja-JP" sz="11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  <a:defRPr/>
                </a:pPr>
                <a:r>
                  <a:rPr kumimoji="1" lang="en-US" altLang="ja-JP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ke permanent copy of </a:t>
                </a:r>
                <a:r>
                  <a:rPr kumimoji="1" lang="en-US" altLang="ja-JP" sz="11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project</a:t>
                </a:r>
                <a:endParaRPr kumimoji="1" lang="ja-JP" altLang="en-US" sz="11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>
                  <a:defRPr/>
                </a:pPr>
                <a:endParaRPr lang="nl-NL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グループ化 28">
              <a:extLst>
                <a:ext uri="{FF2B5EF4-FFF2-40B4-BE49-F238E27FC236}">
                  <a16:creationId xmlns:a16="http://schemas.microsoft.com/office/drawing/2014/main" id="{1F3F6ABC-FA1D-4932-A457-2D07ABAA3905}"/>
                </a:ext>
              </a:extLst>
            </p:cNvPr>
            <p:cNvGrpSpPr/>
            <p:nvPr/>
          </p:nvGrpSpPr>
          <p:grpSpPr>
            <a:xfrm>
              <a:off x="579000" y="3116261"/>
              <a:ext cx="8748000" cy="1008000"/>
              <a:chOff x="579600" y="2916000"/>
              <a:chExt cx="8748000" cy="1008000"/>
            </a:xfrm>
          </p:grpSpPr>
          <p:sp>
            <p:nvSpPr>
              <p:cNvPr id="19" name="フリーフォーム 15">
                <a:extLst>
                  <a:ext uri="{FF2B5EF4-FFF2-40B4-BE49-F238E27FC236}">
                    <a16:creationId xmlns:a16="http://schemas.microsoft.com/office/drawing/2014/main" id="{DF8C7666-47C0-4FC2-A6D9-5CC356127D06}"/>
                  </a:ext>
                </a:extLst>
              </p:cNvPr>
              <p:cNvSpPr/>
              <p:nvPr/>
            </p:nvSpPr>
            <p:spPr bwMode="gray">
              <a:xfrm>
                <a:off x="579600" y="2916000"/>
                <a:ext cx="8748000" cy="1008000"/>
              </a:xfrm>
              <a:custGeom>
                <a:avLst/>
                <a:gdLst>
                  <a:gd name="connsiteX0" fmla="*/ 504000 w 8748000"/>
                  <a:gd name="connsiteY0" fmla="*/ 0 h 1008000"/>
                  <a:gd name="connsiteX1" fmla="*/ 519058 w 8748000"/>
                  <a:gd name="connsiteY1" fmla="*/ 1518 h 1008000"/>
                  <a:gd name="connsiteX2" fmla="*/ 519058 w 8748000"/>
                  <a:gd name="connsiteY2" fmla="*/ 0 h 1008000"/>
                  <a:gd name="connsiteX3" fmla="*/ 8251258 w 8748000"/>
                  <a:gd name="connsiteY3" fmla="*/ 0 h 1008000"/>
                  <a:gd name="connsiteX4" fmla="*/ 8745019 w 8748000"/>
                  <a:gd name="connsiteY4" fmla="*/ 402426 h 1008000"/>
                  <a:gd name="connsiteX5" fmla="*/ 8748000 w 8748000"/>
                  <a:gd name="connsiteY5" fmla="*/ 432000 h 1008000"/>
                  <a:gd name="connsiteX6" fmla="*/ 1000742 w 8748000"/>
                  <a:gd name="connsiteY6" fmla="*/ 432000 h 1008000"/>
                  <a:gd name="connsiteX7" fmla="*/ 1008000 w 8748000"/>
                  <a:gd name="connsiteY7" fmla="*/ 504000 h 1008000"/>
                  <a:gd name="connsiteX8" fmla="*/ 504000 w 8748000"/>
                  <a:gd name="connsiteY8" fmla="*/ 1008000 h 1008000"/>
                  <a:gd name="connsiteX9" fmla="*/ 0 w 8748000"/>
                  <a:gd name="connsiteY9" fmla="*/ 504000 h 1008000"/>
                  <a:gd name="connsiteX10" fmla="*/ 504000 w 8748000"/>
                  <a:gd name="connsiteY10" fmla="*/ 0 h 10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748000" h="1008000">
                    <a:moveTo>
                      <a:pt x="504000" y="0"/>
                    </a:moveTo>
                    <a:lnTo>
                      <a:pt x="519058" y="1518"/>
                    </a:lnTo>
                    <a:lnTo>
                      <a:pt x="519058" y="0"/>
                    </a:lnTo>
                    <a:lnTo>
                      <a:pt x="8251258" y="0"/>
                    </a:lnTo>
                    <a:cubicBezTo>
                      <a:pt x="8494816" y="0"/>
                      <a:pt x="8698022" y="172762"/>
                      <a:pt x="8745019" y="402426"/>
                    </a:cubicBezTo>
                    <a:lnTo>
                      <a:pt x="8748000" y="432000"/>
                    </a:lnTo>
                    <a:lnTo>
                      <a:pt x="1000742" y="432000"/>
                    </a:lnTo>
                    <a:lnTo>
                      <a:pt x="1008000" y="504000"/>
                    </a:lnTo>
                    <a:cubicBezTo>
                      <a:pt x="1008000" y="782352"/>
                      <a:pt x="782352" y="1008000"/>
                      <a:pt x="504000" y="1008000"/>
                    </a:cubicBezTo>
                    <a:cubicBezTo>
                      <a:pt x="225648" y="1008000"/>
                      <a:pt x="0" y="782352"/>
                      <a:pt x="0" y="504000"/>
                    </a:cubicBezTo>
                    <a:cubicBezTo>
                      <a:pt x="0" y="225648"/>
                      <a:pt x="225648" y="0"/>
                      <a:pt x="504000" y="0"/>
                    </a:cubicBezTo>
                    <a:close/>
                  </a:path>
                </a:pathLst>
              </a:custGeom>
              <a:solidFill>
                <a:srgbClr val="69369B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1008000" tIns="0" rIns="0" bIns="57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360000" marR="0" lvl="0" indent="-360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1" lang="en-US" altLang="ja-JP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  2 Additional Exercises</a:t>
                </a:r>
                <a:endParaRPr kumimoji="1" lang="ja-JP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0" name="Freeform 242">
                <a:extLst>
                  <a:ext uri="{FF2B5EF4-FFF2-40B4-BE49-F238E27FC236}">
                    <a16:creationId xmlns:a16="http://schemas.microsoft.com/office/drawing/2014/main" id="{BBBAA643-22A7-4CFF-B1B1-03E9FCACD4C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651600" y="2988000"/>
                <a:ext cx="864000" cy="864000"/>
              </a:xfrm>
              <a:custGeom>
                <a:avLst/>
                <a:gdLst>
                  <a:gd name="T0" fmla="*/ 117 w 512"/>
                  <a:gd name="T1" fmla="*/ 160 h 512"/>
                  <a:gd name="T2" fmla="*/ 266 w 512"/>
                  <a:gd name="T3" fmla="*/ 160 h 512"/>
                  <a:gd name="T4" fmla="*/ 266 w 512"/>
                  <a:gd name="T5" fmla="*/ 245 h 512"/>
                  <a:gd name="T6" fmla="*/ 181 w 512"/>
                  <a:gd name="T7" fmla="*/ 245 h 512"/>
                  <a:gd name="T8" fmla="*/ 173 w 512"/>
                  <a:gd name="T9" fmla="*/ 248 h 512"/>
                  <a:gd name="T10" fmla="*/ 149 w 512"/>
                  <a:gd name="T11" fmla="*/ 273 h 512"/>
                  <a:gd name="T12" fmla="*/ 149 w 512"/>
                  <a:gd name="T13" fmla="*/ 256 h 512"/>
                  <a:gd name="T14" fmla="*/ 138 w 512"/>
                  <a:gd name="T15" fmla="*/ 245 h 512"/>
                  <a:gd name="T16" fmla="*/ 117 w 512"/>
                  <a:gd name="T17" fmla="*/ 245 h 512"/>
                  <a:gd name="T18" fmla="*/ 117 w 512"/>
                  <a:gd name="T19" fmla="*/ 160 h 512"/>
                  <a:gd name="T20" fmla="*/ 512 w 512"/>
                  <a:gd name="T21" fmla="*/ 256 h 512"/>
                  <a:gd name="T22" fmla="*/ 256 w 512"/>
                  <a:gd name="T23" fmla="*/ 512 h 512"/>
                  <a:gd name="T24" fmla="*/ 0 w 512"/>
                  <a:gd name="T25" fmla="*/ 256 h 512"/>
                  <a:gd name="T26" fmla="*/ 256 w 512"/>
                  <a:gd name="T27" fmla="*/ 0 h 512"/>
                  <a:gd name="T28" fmla="*/ 512 w 512"/>
                  <a:gd name="T29" fmla="*/ 256 h 512"/>
                  <a:gd name="T30" fmla="*/ 185 w 512"/>
                  <a:gd name="T31" fmla="*/ 266 h 512"/>
                  <a:gd name="T32" fmla="*/ 277 w 512"/>
                  <a:gd name="T33" fmla="*/ 266 h 512"/>
                  <a:gd name="T34" fmla="*/ 288 w 512"/>
                  <a:gd name="T35" fmla="*/ 256 h 512"/>
                  <a:gd name="T36" fmla="*/ 288 w 512"/>
                  <a:gd name="T37" fmla="*/ 149 h 512"/>
                  <a:gd name="T38" fmla="*/ 277 w 512"/>
                  <a:gd name="T39" fmla="*/ 138 h 512"/>
                  <a:gd name="T40" fmla="*/ 106 w 512"/>
                  <a:gd name="T41" fmla="*/ 138 h 512"/>
                  <a:gd name="T42" fmla="*/ 96 w 512"/>
                  <a:gd name="T43" fmla="*/ 149 h 512"/>
                  <a:gd name="T44" fmla="*/ 96 w 512"/>
                  <a:gd name="T45" fmla="*/ 256 h 512"/>
                  <a:gd name="T46" fmla="*/ 106 w 512"/>
                  <a:gd name="T47" fmla="*/ 266 h 512"/>
                  <a:gd name="T48" fmla="*/ 128 w 512"/>
                  <a:gd name="T49" fmla="*/ 266 h 512"/>
                  <a:gd name="T50" fmla="*/ 128 w 512"/>
                  <a:gd name="T51" fmla="*/ 298 h 512"/>
                  <a:gd name="T52" fmla="*/ 134 w 512"/>
                  <a:gd name="T53" fmla="*/ 308 h 512"/>
                  <a:gd name="T54" fmla="*/ 138 w 512"/>
                  <a:gd name="T55" fmla="*/ 309 h 512"/>
                  <a:gd name="T56" fmla="*/ 146 w 512"/>
                  <a:gd name="T57" fmla="*/ 306 h 512"/>
                  <a:gd name="T58" fmla="*/ 185 w 512"/>
                  <a:gd name="T59" fmla="*/ 266 h 512"/>
                  <a:gd name="T60" fmla="*/ 416 w 512"/>
                  <a:gd name="T61" fmla="*/ 234 h 512"/>
                  <a:gd name="T62" fmla="*/ 405 w 512"/>
                  <a:gd name="T63" fmla="*/ 224 h 512"/>
                  <a:gd name="T64" fmla="*/ 320 w 512"/>
                  <a:gd name="T65" fmla="*/ 224 h 512"/>
                  <a:gd name="T66" fmla="*/ 309 w 512"/>
                  <a:gd name="T67" fmla="*/ 234 h 512"/>
                  <a:gd name="T68" fmla="*/ 320 w 512"/>
                  <a:gd name="T69" fmla="*/ 245 h 512"/>
                  <a:gd name="T70" fmla="*/ 394 w 512"/>
                  <a:gd name="T71" fmla="*/ 245 h 512"/>
                  <a:gd name="T72" fmla="*/ 394 w 512"/>
                  <a:gd name="T73" fmla="*/ 352 h 512"/>
                  <a:gd name="T74" fmla="*/ 362 w 512"/>
                  <a:gd name="T75" fmla="*/ 352 h 512"/>
                  <a:gd name="T76" fmla="*/ 352 w 512"/>
                  <a:gd name="T77" fmla="*/ 362 h 512"/>
                  <a:gd name="T78" fmla="*/ 352 w 512"/>
                  <a:gd name="T79" fmla="*/ 379 h 512"/>
                  <a:gd name="T80" fmla="*/ 327 w 512"/>
                  <a:gd name="T81" fmla="*/ 355 h 512"/>
                  <a:gd name="T82" fmla="*/ 320 w 512"/>
                  <a:gd name="T83" fmla="*/ 352 h 512"/>
                  <a:gd name="T84" fmla="*/ 245 w 512"/>
                  <a:gd name="T85" fmla="*/ 352 h 512"/>
                  <a:gd name="T86" fmla="*/ 245 w 512"/>
                  <a:gd name="T87" fmla="*/ 298 h 512"/>
                  <a:gd name="T88" fmla="*/ 234 w 512"/>
                  <a:gd name="T89" fmla="*/ 288 h 512"/>
                  <a:gd name="T90" fmla="*/ 224 w 512"/>
                  <a:gd name="T91" fmla="*/ 298 h 512"/>
                  <a:gd name="T92" fmla="*/ 224 w 512"/>
                  <a:gd name="T93" fmla="*/ 362 h 512"/>
                  <a:gd name="T94" fmla="*/ 234 w 512"/>
                  <a:gd name="T95" fmla="*/ 373 h 512"/>
                  <a:gd name="T96" fmla="*/ 315 w 512"/>
                  <a:gd name="T97" fmla="*/ 373 h 512"/>
                  <a:gd name="T98" fmla="*/ 355 w 512"/>
                  <a:gd name="T99" fmla="*/ 413 h 512"/>
                  <a:gd name="T100" fmla="*/ 362 w 512"/>
                  <a:gd name="T101" fmla="*/ 416 h 512"/>
                  <a:gd name="T102" fmla="*/ 366 w 512"/>
                  <a:gd name="T103" fmla="*/ 415 h 512"/>
                  <a:gd name="T104" fmla="*/ 373 w 512"/>
                  <a:gd name="T105" fmla="*/ 405 h 512"/>
                  <a:gd name="T106" fmla="*/ 373 w 512"/>
                  <a:gd name="T107" fmla="*/ 373 h 512"/>
                  <a:gd name="T108" fmla="*/ 405 w 512"/>
                  <a:gd name="T109" fmla="*/ 373 h 512"/>
                  <a:gd name="T110" fmla="*/ 416 w 512"/>
                  <a:gd name="T111" fmla="*/ 362 h 512"/>
                  <a:gd name="T112" fmla="*/ 416 w 512"/>
                  <a:gd name="T113" fmla="*/ 234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12" h="512">
                    <a:moveTo>
                      <a:pt x="117" y="160"/>
                    </a:moveTo>
                    <a:cubicBezTo>
                      <a:pt x="266" y="160"/>
                      <a:pt x="266" y="160"/>
                      <a:pt x="266" y="160"/>
                    </a:cubicBezTo>
                    <a:cubicBezTo>
                      <a:pt x="266" y="245"/>
                      <a:pt x="266" y="245"/>
                      <a:pt x="266" y="245"/>
                    </a:cubicBezTo>
                    <a:cubicBezTo>
                      <a:pt x="181" y="245"/>
                      <a:pt x="181" y="245"/>
                      <a:pt x="181" y="245"/>
                    </a:cubicBezTo>
                    <a:cubicBezTo>
                      <a:pt x="178" y="245"/>
                      <a:pt x="175" y="246"/>
                      <a:pt x="173" y="248"/>
                    </a:cubicBezTo>
                    <a:cubicBezTo>
                      <a:pt x="149" y="273"/>
                      <a:pt x="149" y="273"/>
                      <a:pt x="149" y="273"/>
                    </a:cubicBezTo>
                    <a:cubicBezTo>
                      <a:pt x="149" y="256"/>
                      <a:pt x="149" y="256"/>
                      <a:pt x="149" y="256"/>
                    </a:cubicBezTo>
                    <a:cubicBezTo>
                      <a:pt x="149" y="250"/>
                      <a:pt x="144" y="245"/>
                      <a:pt x="138" y="245"/>
                    </a:cubicBezTo>
                    <a:cubicBezTo>
                      <a:pt x="117" y="245"/>
                      <a:pt x="117" y="245"/>
                      <a:pt x="117" y="245"/>
                    </a:cubicBezTo>
                    <a:lnTo>
                      <a:pt x="117" y="160"/>
                    </a:ln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185" y="266"/>
                    </a:moveTo>
                    <a:cubicBezTo>
                      <a:pt x="277" y="266"/>
                      <a:pt x="277" y="266"/>
                      <a:pt x="277" y="266"/>
                    </a:cubicBezTo>
                    <a:cubicBezTo>
                      <a:pt x="283" y="266"/>
                      <a:pt x="288" y="262"/>
                      <a:pt x="288" y="256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3"/>
                      <a:pt x="283" y="138"/>
                      <a:pt x="277" y="138"/>
                    </a:cubicBezTo>
                    <a:cubicBezTo>
                      <a:pt x="106" y="138"/>
                      <a:pt x="106" y="138"/>
                      <a:pt x="106" y="138"/>
                    </a:cubicBezTo>
                    <a:cubicBezTo>
                      <a:pt x="100" y="138"/>
                      <a:pt x="96" y="143"/>
                      <a:pt x="96" y="149"/>
                    </a:cubicBezTo>
                    <a:cubicBezTo>
                      <a:pt x="96" y="256"/>
                      <a:pt x="96" y="256"/>
                      <a:pt x="96" y="256"/>
                    </a:cubicBezTo>
                    <a:cubicBezTo>
                      <a:pt x="96" y="262"/>
                      <a:pt x="100" y="266"/>
                      <a:pt x="106" y="266"/>
                    </a:cubicBezTo>
                    <a:cubicBezTo>
                      <a:pt x="128" y="266"/>
                      <a:pt x="128" y="266"/>
                      <a:pt x="128" y="266"/>
                    </a:cubicBezTo>
                    <a:cubicBezTo>
                      <a:pt x="128" y="298"/>
                      <a:pt x="128" y="298"/>
                      <a:pt x="128" y="298"/>
                    </a:cubicBezTo>
                    <a:cubicBezTo>
                      <a:pt x="128" y="303"/>
                      <a:pt x="130" y="307"/>
                      <a:pt x="134" y="308"/>
                    </a:cubicBezTo>
                    <a:cubicBezTo>
                      <a:pt x="136" y="309"/>
                      <a:pt x="137" y="309"/>
                      <a:pt x="138" y="309"/>
                    </a:cubicBezTo>
                    <a:cubicBezTo>
                      <a:pt x="141" y="309"/>
                      <a:pt x="144" y="308"/>
                      <a:pt x="146" y="306"/>
                    </a:cubicBezTo>
                    <a:lnTo>
                      <a:pt x="185" y="266"/>
                    </a:lnTo>
                    <a:close/>
                    <a:moveTo>
                      <a:pt x="416" y="234"/>
                    </a:moveTo>
                    <a:cubicBezTo>
                      <a:pt x="416" y="228"/>
                      <a:pt x="411" y="224"/>
                      <a:pt x="405" y="224"/>
                    </a:cubicBezTo>
                    <a:cubicBezTo>
                      <a:pt x="320" y="224"/>
                      <a:pt x="320" y="224"/>
                      <a:pt x="320" y="224"/>
                    </a:cubicBezTo>
                    <a:cubicBezTo>
                      <a:pt x="314" y="224"/>
                      <a:pt x="309" y="228"/>
                      <a:pt x="309" y="234"/>
                    </a:cubicBezTo>
                    <a:cubicBezTo>
                      <a:pt x="309" y="240"/>
                      <a:pt x="314" y="245"/>
                      <a:pt x="320" y="245"/>
                    </a:cubicBezTo>
                    <a:cubicBezTo>
                      <a:pt x="394" y="245"/>
                      <a:pt x="394" y="245"/>
                      <a:pt x="394" y="245"/>
                    </a:cubicBezTo>
                    <a:cubicBezTo>
                      <a:pt x="394" y="352"/>
                      <a:pt x="394" y="352"/>
                      <a:pt x="394" y="352"/>
                    </a:cubicBezTo>
                    <a:cubicBezTo>
                      <a:pt x="362" y="352"/>
                      <a:pt x="362" y="352"/>
                      <a:pt x="362" y="352"/>
                    </a:cubicBezTo>
                    <a:cubicBezTo>
                      <a:pt x="356" y="352"/>
                      <a:pt x="352" y="356"/>
                      <a:pt x="352" y="362"/>
                    </a:cubicBezTo>
                    <a:cubicBezTo>
                      <a:pt x="352" y="379"/>
                      <a:pt x="352" y="379"/>
                      <a:pt x="352" y="379"/>
                    </a:cubicBezTo>
                    <a:cubicBezTo>
                      <a:pt x="327" y="355"/>
                      <a:pt x="327" y="355"/>
                      <a:pt x="327" y="355"/>
                    </a:cubicBezTo>
                    <a:cubicBezTo>
                      <a:pt x="325" y="353"/>
                      <a:pt x="322" y="352"/>
                      <a:pt x="320" y="352"/>
                    </a:cubicBezTo>
                    <a:cubicBezTo>
                      <a:pt x="245" y="352"/>
                      <a:pt x="245" y="352"/>
                      <a:pt x="245" y="352"/>
                    </a:cubicBezTo>
                    <a:cubicBezTo>
                      <a:pt x="245" y="298"/>
                      <a:pt x="245" y="298"/>
                      <a:pt x="245" y="298"/>
                    </a:cubicBezTo>
                    <a:cubicBezTo>
                      <a:pt x="245" y="292"/>
                      <a:pt x="240" y="288"/>
                      <a:pt x="234" y="288"/>
                    </a:cubicBezTo>
                    <a:cubicBezTo>
                      <a:pt x="228" y="288"/>
                      <a:pt x="224" y="292"/>
                      <a:pt x="224" y="298"/>
                    </a:cubicBezTo>
                    <a:cubicBezTo>
                      <a:pt x="224" y="362"/>
                      <a:pt x="224" y="362"/>
                      <a:pt x="224" y="362"/>
                    </a:cubicBezTo>
                    <a:cubicBezTo>
                      <a:pt x="224" y="368"/>
                      <a:pt x="228" y="373"/>
                      <a:pt x="234" y="373"/>
                    </a:cubicBezTo>
                    <a:cubicBezTo>
                      <a:pt x="315" y="373"/>
                      <a:pt x="315" y="373"/>
                      <a:pt x="315" y="373"/>
                    </a:cubicBezTo>
                    <a:cubicBezTo>
                      <a:pt x="355" y="413"/>
                      <a:pt x="355" y="413"/>
                      <a:pt x="355" y="413"/>
                    </a:cubicBezTo>
                    <a:cubicBezTo>
                      <a:pt x="357" y="415"/>
                      <a:pt x="360" y="416"/>
                      <a:pt x="362" y="416"/>
                    </a:cubicBezTo>
                    <a:cubicBezTo>
                      <a:pt x="364" y="416"/>
                      <a:pt x="365" y="415"/>
                      <a:pt x="366" y="415"/>
                    </a:cubicBezTo>
                    <a:cubicBezTo>
                      <a:pt x="370" y="413"/>
                      <a:pt x="373" y="409"/>
                      <a:pt x="373" y="405"/>
                    </a:cubicBezTo>
                    <a:cubicBezTo>
                      <a:pt x="373" y="373"/>
                      <a:pt x="373" y="373"/>
                      <a:pt x="373" y="373"/>
                    </a:cubicBezTo>
                    <a:cubicBezTo>
                      <a:pt x="405" y="373"/>
                      <a:pt x="405" y="373"/>
                      <a:pt x="405" y="373"/>
                    </a:cubicBezTo>
                    <a:cubicBezTo>
                      <a:pt x="411" y="373"/>
                      <a:pt x="416" y="368"/>
                      <a:pt x="416" y="362"/>
                    </a:cubicBezTo>
                    <a:lnTo>
                      <a:pt x="416" y="23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グループ化 27">
              <a:extLst>
                <a:ext uri="{FF2B5EF4-FFF2-40B4-BE49-F238E27FC236}">
                  <a16:creationId xmlns:a16="http://schemas.microsoft.com/office/drawing/2014/main" id="{BDB1F23C-2E24-42D2-BE92-895FDAF9B208}"/>
                </a:ext>
              </a:extLst>
            </p:cNvPr>
            <p:cNvGrpSpPr/>
            <p:nvPr/>
          </p:nvGrpSpPr>
          <p:grpSpPr>
            <a:xfrm>
              <a:off x="579000" y="4468523"/>
              <a:ext cx="8748000" cy="1008000"/>
              <a:chOff x="579600" y="4068000"/>
              <a:chExt cx="8748000" cy="1008000"/>
            </a:xfrm>
          </p:grpSpPr>
          <p:sp>
            <p:nvSpPr>
              <p:cNvPr id="17" name="フリーフォーム 16">
                <a:extLst>
                  <a:ext uri="{FF2B5EF4-FFF2-40B4-BE49-F238E27FC236}">
                    <a16:creationId xmlns:a16="http://schemas.microsoft.com/office/drawing/2014/main" id="{9C204B9F-2FF9-49C5-8B0E-2051A116AFF3}"/>
                  </a:ext>
                </a:extLst>
              </p:cNvPr>
              <p:cNvSpPr/>
              <p:nvPr/>
            </p:nvSpPr>
            <p:spPr bwMode="gray">
              <a:xfrm>
                <a:off x="579600" y="4068000"/>
                <a:ext cx="8748000" cy="1008000"/>
              </a:xfrm>
              <a:custGeom>
                <a:avLst/>
                <a:gdLst>
                  <a:gd name="connsiteX0" fmla="*/ 504000 w 8748000"/>
                  <a:gd name="connsiteY0" fmla="*/ 0 h 1008000"/>
                  <a:gd name="connsiteX1" fmla="*/ 519058 w 8748000"/>
                  <a:gd name="connsiteY1" fmla="*/ 1518 h 1008000"/>
                  <a:gd name="connsiteX2" fmla="*/ 519058 w 8748000"/>
                  <a:gd name="connsiteY2" fmla="*/ 0 h 1008000"/>
                  <a:gd name="connsiteX3" fmla="*/ 8251258 w 8748000"/>
                  <a:gd name="connsiteY3" fmla="*/ 0 h 1008000"/>
                  <a:gd name="connsiteX4" fmla="*/ 8745019 w 8748000"/>
                  <a:gd name="connsiteY4" fmla="*/ 402426 h 1008000"/>
                  <a:gd name="connsiteX5" fmla="*/ 8748000 w 8748000"/>
                  <a:gd name="connsiteY5" fmla="*/ 432000 h 1008000"/>
                  <a:gd name="connsiteX6" fmla="*/ 1000742 w 8748000"/>
                  <a:gd name="connsiteY6" fmla="*/ 432000 h 1008000"/>
                  <a:gd name="connsiteX7" fmla="*/ 1008000 w 8748000"/>
                  <a:gd name="connsiteY7" fmla="*/ 504000 h 1008000"/>
                  <a:gd name="connsiteX8" fmla="*/ 504000 w 8748000"/>
                  <a:gd name="connsiteY8" fmla="*/ 1008000 h 1008000"/>
                  <a:gd name="connsiteX9" fmla="*/ 0 w 8748000"/>
                  <a:gd name="connsiteY9" fmla="*/ 504000 h 1008000"/>
                  <a:gd name="connsiteX10" fmla="*/ 504000 w 8748000"/>
                  <a:gd name="connsiteY10" fmla="*/ 0 h 10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748000" h="1008000">
                    <a:moveTo>
                      <a:pt x="504000" y="0"/>
                    </a:moveTo>
                    <a:lnTo>
                      <a:pt x="519058" y="1518"/>
                    </a:lnTo>
                    <a:lnTo>
                      <a:pt x="519058" y="0"/>
                    </a:lnTo>
                    <a:lnTo>
                      <a:pt x="8251258" y="0"/>
                    </a:lnTo>
                    <a:cubicBezTo>
                      <a:pt x="8494816" y="0"/>
                      <a:pt x="8698022" y="172762"/>
                      <a:pt x="8745019" y="402426"/>
                    </a:cubicBezTo>
                    <a:lnTo>
                      <a:pt x="8748000" y="432000"/>
                    </a:lnTo>
                    <a:lnTo>
                      <a:pt x="1000742" y="432000"/>
                    </a:lnTo>
                    <a:lnTo>
                      <a:pt x="1008000" y="504000"/>
                    </a:lnTo>
                    <a:cubicBezTo>
                      <a:pt x="1008000" y="782352"/>
                      <a:pt x="782352" y="1008000"/>
                      <a:pt x="504000" y="1008000"/>
                    </a:cubicBezTo>
                    <a:cubicBezTo>
                      <a:pt x="225648" y="1008000"/>
                      <a:pt x="0" y="782352"/>
                      <a:pt x="0" y="504000"/>
                    </a:cubicBezTo>
                    <a:cubicBezTo>
                      <a:pt x="0" y="225648"/>
                      <a:pt x="225648" y="0"/>
                      <a:pt x="504000" y="0"/>
                    </a:cubicBezTo>
                    <a:close/>
                  </a:path>
                </a:pathLst>
              </a:custGeom>
              <a:solidFill>
                <a:srgbClr val="69369B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1008000" tIns="0" rIns="0" bIns="57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360000" marR="0" lvl="0" indent="-3600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1" lang="en-US" altLang="ja-JP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 3 Download Session Materials</a:t>
                </a:r>
                <a:endParaRPr kumimoji="1" lang="ja-JP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8" name="Freeform 59">
                <a:extLst>
                  <a:ext uri="{FF2B5EF4-FFF2-40B4-BE49-F238E27FC236}">
                    <a16:creationId xmlns:a16="http://schemas.microsoft.com/office/drawing/2014/main" id="{8271A402-866E-4BF9-925F-282E1BE8CE0D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651600" y="4140000"/>
                <a:ext cx="864000" cy="864000"/>
              </a:xfrm>
              <a:custGeom>
                <a:avLst/>
                <a:gdLst>
                  <a:gd name="T0" fmla="*/ 147 w 512"/>
                  <a:gd name="T1" fmla="*/ 170 h 512"/>
                  <a:gd name="T2" fmla="*/ 201 w 512"/>
                  <a:gd name="T3" fmla="*/ 170 h 512"/>
                  <a:gd name="T4" fmla="*/ 223 w 512"/>
                  <a:gd name="T5" fmla="*/ 170 h 512"/>
                  <a:gd name="T6" fmla="*/ 256 w 512"/>
                  <a:gd name="T7" fmla="*/ 117 h 512"/>
                  <a:gd name="T8" fmla="*/ 133 w 512"/>
                  <a:gd name="T9" fmla="*/ 192 h 512"/>
                  <a:gd name="T10" fmla="*/ 192 w 512"/>
                  <a:gd name="T11" fmla="*/ 245 h 512"/>
                  <a:gd name="T12" fmla="*/ 218 w 512"/>
                  <a:gd name="T13" fmla="*/ 320 h 512"/>
                  <a:gd name="T14" fmla="*/ 298 w 512"/>
                  <a:gd name="T15" fmla="*/ 266 h 512"/>
                  <a:gd name="T16" fmla="*/ 218 w 512"/>
                  <a:gd name="T17" fmla="*/ 320 h 512"/>
                  <a:gd name="T18" fmla="*/ 292 w 512"/>
                  <a:gd name="T19" fmla="*/ 122 h 512"/>
                  <a:gd name="T20" fmla="*/ 365 w 512"/>
                  <a:gd name="T21" fmla="*/ 170 h 512"/>
                  <a:gd name="T22" fmla="*/ 218 w 512"/>
                  <a:gd name="T23" fmla="*/ 192 h 512"/>
                  <a:gd name="T24" fmla="*/ 298 w 512"/>
                  <a:gd name="T25" fmla="*/ 245 h 512"/>
                  <a:gd name="T26" fmla="*/ 192 w 512"/>
                  <a:gd name="T27" fmla="*/ 266 h 512"/>
                  <a:gd name="T28" fmla="*/ 133 w 512"/>
                  <a:gd name="T29" fmla="*/ 320 h 512"/>
                  <a:gd name="T30" fmla="*/ 192 w 512"/>
                  <a:gd name="T31" fmla="*/ 266 h 512"/>
                  <a:gd name="T32" fmla="*/ 394 w 512"/>
                  <a:gd name="T33" fmla="*/ 245 h 512"/>
                  <a:gd name="T34" fmla="*/ 314 w 512"/>
                  <a:gd name="T35" fmla="*/ 192 h 512"/>
                  <a:gd name="T36" fmla="*/ 512 w 512"/>
                  <a:gd name="T37" fmla="*/ 256 h 512"/>
                  <a:gd name="T38" fmla="*/ 0 w 512"/>
                  <a:gd name="T39" fmla="*/ 256 h 512"/>
                  <a:gd name="T40" fmla="*/ 512 w 512"/>
                  <a:gd name="T41" fmla="*/ 256 h 512"/>
                  <a:gd name="T42" fmla="*/ 256 w 512"/>
                  <a:gd name="T43" fmla="*/ 96 h 512"/>
                  <a:gd name="T44" fmla="*/ 256 w 512"/>
                  <a:gd name="T45" fmla="*/ 416 h 512"/>
                  <a:gd name="T46" fmla="*/ 314 w 512"/>
                  <a:gd name="T47" fmla="*/ 320 h 512"/>
                  <a:gd name="T48" fmla="*/ 394 w 512"/>
                  <a:gd name="T49" fmla="*/ 266 h 512"/>
                  <a:gd name="T50" fmla="*/ 314 w 512"/>
                  <a:gd name="T51" fmla="*/ 320 h 512"/>
                  <a:gd name="T52" fmla="*/ 220 w 512"/>
                  <a:gd name="T53" fmla="*/ 389 h 512"/>
                  <a:gd name="T54" fmla="*/ 147 w 512"/>
                  <a:gd name="T55" fmla="*/ 341 h 512"/>
                  <a:gd name="T56" fmla="*/ 365 w 512"/>
                  <a:gd name="T57" fmla="*/ 341 h 512"/>
                  <a:gd name="T58" fmla="*/ 292 w 512"/>
                  <a:gd name="T59" fmla="*/ 389 h 512"/>
                  <a:gd name="T60" fmla="*/ 288 w 512"/>
                  <a:gd name="T61" fmla="*/ 341 h 512"/>
                  <a:gd name="T62" fmla="*/ 256 w 512"/>
                  <a:gd name="T63" fmla="*/ 394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12" h="512">
                    <a:moveTo>
                      <a:pt x="201" y="170"/>
                    </a:moveTo>
                    <a:cubicBezTo>
                      <a:pt x="147" y="170"/>
                      <a:pt x="147" y="170"/>
                      <a:pt x="147" y="170"/>
                    </a:cubicBezTo>
                    <a:cubicBezTo>
                      <a:pt x="165" y="147"/>
                      <a:pt x="190" y="130"/>
                      <a:pt x="220" y="122"/>
                    </a:cubicBezTo>
                    <a:cubicBezTo>
                      <a:pt x="212" y="135"/>
                      <a:pt x="206" y="151"/>
                      <a:pt x="201" y="170"/>
                    </a:cubicBezTo>
                    <a:close/>
                    <a:moveTo>
                      <a:pt x="256" y="117"/>
                    </a:moveTo>
                    <a:cubicBezTo>
                      <a:pt x="245" y="117"/>
                      <a:pt x="232" y="137"/>
                      <a:pt x="223" y="170"/>
                    </a:cubicBezTo>
                    <a:cubicBezTo>
                      <a:pt x="288" y="170"/>
                      <a:pt x="288" y="170"/>
                      <a:pt x="288" y="170"/>
                    </a:cubicBezTo>
                    <a:cubicBezTo>
                      <a:pt x="279" y="137"/>
                      <a:pt x="266" y="117"/>
                      <a:pt x="256" y="117"/>
                    </a:cubicBezTo>
                    <a:close/>
                    <a:moveTo>
                      <a:pt x="197" y="192"/>
                    </a:moveTo>
                    <a:cubicBezTo>
                      <a:pt x="133" y="192"/>
                      <a:pt x="133" y="192"/>
                      <a:pt x="133" y="192"/>
                    </a:cubicBezTo>
                    <a:cubicBezTo>
                      <a:pt x="124" y="208"/>
                      <a:pt x="119" y="226"/>
                      <a:pt x="118" y="245"/>
                    </a:cubicBezTo>
                    <a:cubicBezTo>
                      <a:pt x="192" y="245"/>
                      <a:pt x="192" y="245"/>
                      <a:pt x="192" y="245"/>
                    </a:cubicBezTo>
                    <a:cubicBezTo>
                      <a:pt x="192" y="227"/>
                      <a:pt x="194" y="209"/>
                      <a:pt x="197" y="192"/>
                    </a:cubicBezTo>
                    <a:close/>
                    <a:moveTo>
                      <a:pt x="218" y="320"/>
                    </a:moveTo>
                    <a:cubicBezTo>
                      <a:pt x="293" y="320"/>
                      <a:pt x="293" y="320"/>
                      <a:pt x="293" y="320"/>
                    </a:cubicBezTo>
                    <a:cubicBezTo>
                      <a:pt x="296" y="304"/>
                      <a:pt x="298" y="286"/>
                      <a:pt x="298" y="266"/>
                    </a:cubicBezTo>
                    <a:cubicBezTo>
                      <a:pt x="213" y="266"/>
                      <a:pt x="213" y="266"/>
                      <a:pt x="213" y="266"/>
                    </a:cubicBezTo>
                    <a:cubicBezTo>
                      <a:pt x="214" y="286"/>
                      <a:pt x="216" y="304"/>
                      <a:pt x="218" y="320"/>
                    </a:cubicBezTo>
                    <a:close/>
                    <a:moveTo>
                      <a:pt x="365" y="170"/>
                    </a:moveTo>
                    <a:cubicBezTo>
                      <a:pt x="347" y="147"/>
                      <a:pt x="321" y="130"/>
                      <a:pt x="292" y="122"/>
                    </a:cubicBezTo>
                    <a:cubicBezTo>
                      <a:pt x="299" y="135"/>
                      <a:pt x="306" y="151"/>
                      <a:pt x="310" y="170"/>
                    </a:cubicBezTo>
                    <a:lnTo>
                      <a:pt x="365" y="170"/>
                    </a:lnTo>
                    <a:close/>
                    <a:moveTo>
                      <a:pt x="293" y="192"/>
                    </a:moveTo>
                    <a:cubicBezTo>
                      <a:pt x="218" y="192"/>
                      <a:pt x="218" y="192"/>
                      <a:pt x="218" y="192"/>
                    </a:cubicBezTo>
                    <a:cubicBezTo>
                      <a:pt x="216" y="207"/>
                      <a:pt x="214" y="225"/>
                      <a:pt x="213" y="245"/>
                    </a:cubicBezTo>
                    <a:cubicBezTo>
                      <a:pt x="298" y="245"/>
                      <a:pt x="298" y="245"/>
                      <a:pt x="298" y="245"/>
                    </a:cubicBezTo>
                    <a:cubicBezTo>
                      <a:pt x="298" y="225"/>
                      <a:pt x="296" y="207"/>
                      <a:pt x="293" y="192"/>
                    </a:cubicBezTo>
                    <a:close/>
                    <a:moveTo>
                      <a:pt x="192" y="266"/>
                    </a:moveTo>
                    <a:cubicBezTo>
                      <a:pt x="118" y="266"/>
                      <a:pt x="118" y="266"/>
                      <a:pt x="118" y="266"/>
                    </a:cubicBezTo>
                    <a:cubicBezTo>
                      <a:pt x="119" y="285"/>
                      <a:pt x="124" y="303"/>
                      <a:pt x="133" y="320"/>
                    </a:cubicBezTo>
                    <a:cubicBezTo>
                      <a:pt x="197" y="320"/>
                      <a:pt x="197" y="320"/>
                      <a:pt x="197" y="320"/>
                    </a:cubicBezTo>
                    <a:cubicBezTo>
                      <a:pt x="194" y="303"/>
                      <a:pt x="192" y="284"/>
                      <a:pt x="192" y="266"/>
                    </a:cubicBezTo>
                    <a:close/>
                    <a:moveTo>
                      <a:pt x="319" y="245"/>
                    </a:moveTo>
                    <a:cubicBezTo>
                      <a:pt x="394" y="245"/>
                      <a:pt x="394" y="245"/>
                      <a:pt x="394" y="245"/>
                    </a:cubicBezTo>
                    <a:cubicBezTo>
                      <a:pt x="392" y="226"/>
                      <a:pt x="387" y="208"/>
                      <a:pt x="379" y="192"/>
                    </a:cubicBezTo>
                    <a:cubicBezTo>
                      <a:pt x="314" y="192"/>
                      <a:pt x="314" y="192"/>
                      <a:pt x="314" y="192"/>
                    </a:cubicBezTo>
                    <a:cubicBezTo>
                      <a:pt x="317" y="209"/>
                      <a:pt x="319" y="227"/>
                      <a:pt x="319" y="245"/>
                    </a:cubicBez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416" y="256"/>
                    </a:moveTo>
                    <a:cubicBezTo>
                      <a:pt x="416" y="167"/>
                      <a:pt x="344" y="96"/>
                      <a:pt x="256" y="96"/>
                    </a:cubicBezTo>
                    <a:cubicBezTo>
                      <a:pt x="167" y="96"/>
                      <a:pt x="96" y="167"/>
                      <a:pt x="96" y="256"/>
                    </a:cubicBezTo>
                    <a:cubicBezTo>
                      <a:pt x="96" y="344"/>
                      <a:pt x="167" y="416"/>
                      <a:pt x="256" y="416"/>
                    </a:cubicBezTo>
                    <a:cubicBezTo>
                      <a:pt x="344" y="416"/>
                      <a:pt x="416" y="344"/>
                      <a:pt x="416" y="256"/>
                    </a:cubicBezTo>
                    <a:close/>
                    <a:moveTo>
                      <a:pt x="314" y="320"/>
                    </a:moveTo>
                    <a:cubicBezTo>
                      <a:pt x="379" y="320"/>
                      <a:pt x="379" y="320"/>
                      <a:pt x="379" y="320"/>
                    </a:cubicBezTo>
                    <a:cubicBezTo>
                      <a:pt x="387" y="303"/>
                      <a:pt x="392" y="285"/>
                      <a:pt x="394" y="266"/>
                    </a:cubicBezTo>
                    <a:cubicBezTo>
                      <a:pt x="319" y="266"/>
                      <a:pt x="319" y="266"/>
                      <a:pt x="319" y="266"/>
                    </a:cubicBezTo>
                    <a:cubicBezTo>
                      <a:pt x="319" y="284"/>
                      <a:pt x="317" y="303"/>
                      <a:pt x="314" y="320"/>
                    </a:cubicBezTo>
                    <a:close/>
                    <a:moveTo>
                      <a:pt x="147" y="341"/>
                    </a:moveTo>
                    <a:cubicBezTo>
                      <a:pt x="165" y="364"/>
                      <a:pt x="190" y="381"/>
                      <a:pt x="220" y="389"/>
                    </a:cubicBezTo>
                    <a:cubicBezTo>
                      <a:pt x="212" y="377"/>
                      <a:pt x="206" y="360"/>
                      <a:pt x="201" y="341"/>
                    </a:cubicBezTo>
                    <a:lnTo>
                      <a:pt x="147" y="341"/>
                    </a:lnTo>
                    <a:close/>
                    <a:moveTo>
                      <a:pt x="292" y="389"/>
                    </a:moveTo>
                    <a:cubicBezTo>
                      <a:pt x="321" y="381"/>
                      <a:pt x="347" y="364"/>
                      <a:pt x="365" y="341"/>
                    </a:cubicBezTo>
                    <a:cubicBezTo>
                      <a:pt x="310" y="341"/>
                      <a:pt x="310" y="341"/>
                      <a:pt x="310" y="341"/>
                    </a:cubicBezTo>
                    <a:cubicBezTo>
                      <a:pt x="306" y="360"/>
                      <a:pt x="299" y="377"/>
                      <a:pt x="292" y="389"/>
                    </a:cubicBezTo>
                    <a:close/>
                    <a:moveTo>
                      <a:pt x="256" y="394"/>
                    </a:moveTo>
                    <a:cubicBezTo>
                      <a:pt x="266" y="394"/>
                      <a:pt x="279" y="375"/>
                      <a:pt x="288" y="341"/>
                    </a:cubicBezTo>
                    <a:cubicBezTo>
                      <a:pt x="223" y="341"/>
                      <a:pt x="223" y="341"/>
                      <a:pt x="223" y="341"/>
                    </a:cubicBezTo>
                    <a:cubicBezTo>
                      <a:pt x="232" y="375"/>
                      <a:pt x="245" y="394"/>
                      <a:pt x="256" y="39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sp>
        <p:nvSpPr>
          <p:cNvPr id="27" name="正方形/長方形 23">
            <a:extLst>
              <a:ext uri="{FF2B5EF4-FFF2-40B4-BE49-F238E27FC236}">
                <a16:creationId xmlns:a16="http://schemas.microsoft.com/office/drawing/2014/main" id="{BB7455DD-4ADB-49B6-906E-2E1613D3DE8A}"/>
              </a:ext>
            </a:extLst>
          </p:cNvPr>
          <p:cNvSpPr/>
          <p:nvPr/>
        </p:nvSpPr>
        <p:spPr bwMode="gray">
          <a:xfrm>
            <a:off x="1833668" y="3445598"/>
            <a:ext cx="7595174" cy="57868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tice after the session using materials on </a:t>
            </a:r>
            <a:r>
              <a:rPr kumimoji="1" lang="en-US" altLang="ja-JP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tudioCloud</a:t>
            </a:r>
            <a:endParaRPr kumimoji="1" lang="en-US" altLang="ja-JP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正方形/長方形 23">
            <a:extLst>
              <a:ext uri="{FF2B5EF4-FFF2-40B4-BE49-F238E27FC236}">
                <a16:creationId xmlns:a16="http://schemas.microsoft.com/office/drawing/2014/main" id="{A95189B3-921B-47E7-B076-05224F17F586}"/>
              </a:ext>
            </a:extLst>
          </p:cNvPr>
          <p:cNvSpPr/>
          <p:nvPr/>
        </p:nvSpPr>
        <p:spPr bwMode="gray">
          <a:xfrm>
            <a:off x="1833668" y="4811298"/>
            <a:ext cx="7595174" cy="57868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kumimoji="1" lang="en-US" altLang="ja-JP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s available on </a:t>
            </a:r>
            <a:r>
              <a:rPr lang="nl-NL" sz="1100" dirty="0">
                <a:hlinkClick r:id="rId8"/>
              </a:rPr>
              <a:t>https://github.com/OlgaShldrr/</a:t>
            </a:r>
            <a:endParaRPr kumimoji="1" lang="ja-JP" altLang="en-US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95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4CDB31-7464-4FCF-8818-0D8323C3B3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664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4CDB31-7464-4FCF-8818-0D8323C3B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4FE47D2-3F94-47E3-A162-DAC3C91295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F7489E-854B-49AB-8D64-3ABB9F366F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742" y="280082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69369B"/>
                </a:solidFill>
                <a:latin typeface="Arial Black" panose="020B0A04020102020204" pitchFamily="34" charset="0"/>
              </a:rPr>
              <a:t>Basics of R</a:t>
            </a:r>
            <a:endParaRPr lang="nl-NL" sz="3600" b="1" dirty="0">
              <a:solidFill>
                <a:srgbClr val="69369B"/>
              </a:solidFill>
              <a:latin typeface="Arial Black" panose="020B0A040201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53CBFBA-2FDA-4808-9C96-629C8154D874}"/>
              </a:ext>
            </a:extLst>
          </p:cNvPr>
          <p:cNvGrpSpPr/>
          <p:nvPr/>
        </p:nvGrpSpPr>
        <p:grpSpPr>
          <a:xfrm>
            <a:off x="6281530" y="164280"/>
            <a:ext cx="5617543" cy="385511"/>
            <a:chOff x="1954696" y="1965704"/>
            <a:chExt cx="6819162" cy="548642"/>
          </a:xfrm>
        </p:grpSpPr>
        <p:sp>
          <p:nvSpPr>
            <p:cNvPr id="8" name="Pentagon 15">
              <a:extLst>
                <a:ext uri="{FF2B5EF4-FFF2-40B4-BE49-F238E27FC236}">
                  <a16:creationId xmlns:a16="http://schemas.microsoft.com/office/drawing/2014/main" id="{01D15DB7-CFCB-4FA9-A3B9-D256A20EB28D}"/>
                </a:ext>
              </a:extLst>
            </p:cNvPr>
            <p:cNvSpPr/>
            <p:nvPr/>
          </p:nvSpPr>
          <p:spPr>
            <a:xfrm>
              <a:off x="1954696" y="1965704"/>
              <a:ext cx="1828800" cy="548640"/>
            </a:xfrm>
            <a:prstGeom prst="homePlate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keeping</a:t>
              </a:r>
            </a:p>
          </p:txBody>
        </p:sp>
        <p:sp>
          <p:nvSpPr>
            <p:cNvPr id="9" name="Chevron 17">
              <a:extLst>
                <a:ext uri="{FF2B5EF4-FFF2-40B4-BE49-F238E27FC236}">
                  <a16:creationId xmlns:a16="http://schemas.microsoft.com/office/drawing/2014/main" id="{0AFC8701-9EF1-48A9-ADD4-77A4AB84A763}"/>
                </a:ext>
              </a:extLst>
            </p:cNvPr>
            <p:cNvSpPr/>
            <p:nvPr/>
          </p:nvSpPr>
          <p:spPr>
            <a:xfrm>
              <a:off x="3618150" y="1965706"/>
              <a:ext cx="1828800" cy="548640"/>
            </a:xfrm>
            <a:prstGeom prst="chevron">
              <a:avLst/>
            </a:prstGeom>
            <a:solidFill>
              <a:srgbClr val="69369B"/>
            </a:solidFill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 to R</a:t>
              </a:r>
            </a:p>
          </p:txBody>
        </p:sp>
        <p:sp>
          <p:nvSpPr>
            <p:cNvPr id="10" name="Chevron 18">
              <a:extLst>
                <a:ext uri="{FF2B5EF4-FFF2-40B4-BE49-F238E27FC236}">
                  <a16:creationId xmlns:a16="http://schemas.microsoft.com/office/drawing/2014/main" id="{7575A1F5-86AD-475E-B84F-67C91BC0CBC8}"/>
                </a:ext>
              </a:extLst>
            </p:cNvPr>
            <p:cNvSpPr/>
            <p:nvPr/>
          </p:nvSpPr>
          <p:spPr>
            <a:xfrm>
              <a:off x="5281604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Markdown</a:t>
              </a:r>
              <a:endPara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Chevron 24">
              <a:extLst>
                <a:ext uri="{FF2B5EF4-FFF2-40B4-BE49-F238E27FC236}">
                  <a16:creationId xmlns:a16="http://schemas.microsoft.com/office/drawing/2014/main" id="{88C95B4B-5700-4BF6-9902-C64EAE49B4C4}"/>
                </a:ext>
              </a:extLst>
            </p:cNvPr>
            <p:cNvSpPr/>
            <p:nvPr/>
          </p:nvSpPr>
          <p:spPr>
            <a:xfrm>
              <a:off x="6945058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mo</a:t>
              </a:r>
            </a:p>
          </p:txBody>
        </p:sp>
      </p:grpSp>
      <p:sp>
        <p:nvSpPr>
          <p:cNvPr id="12" name="Pentagon 23">
            <a:extLst>
              <a:ext uri="{FF2B5EF4-FFF2-40B4-BE49-F238E27FC236}">
                <a16:creationId xmlns:a16="http://schemas.microsoft.com/office/drawing/2014/main" id="{028D1A34-44CC-42B5-8E2A-2EF4F3D7786E}"/>
              </a:ext>
            </a:extLst>
          </p:cNvPr>
          <p:cNvSpPr/>
          <p:nvPr/>
        </p:nvSpPr>
        <p:spPr bwMode="gray">
          <a:xfrm>
            <a:off x="474742" y="1644483"/>
            <a:ext cx="3072879" cy="687518"/>
          </a:xfrm>
          <a:prstGeom prst="homePlate">
            <a:avLst/>
          </a:prstGeom>
          <a:solidFill>
            <a:srgbClr val="693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select</a:t>
            </a:r>
            <a:endParaRPr lang="en-US" sz="2800" dirty="0"/>
          </a:p>
        </p:txBody>
      </p:sp>
      <p:sp>
        <p:nvSpPr>
          <p:cNvPr id="13" name="Pentagon 25">
            <a:extLst>
              <a:ext uri="{FF2B5EF4-FFF2-40B4-BE49-F238E27FC236}">
                <a16:creationId xmlns:a16="http://schemas.microsoft.com/office/drawing/2014/main" id="{AECBC316-1C55-4515-B25D-2273A5E302E9}"/>
              </a:ext>
            </a:extLst>
          </p:cNvPr>
          <p:cNvSpPr>
            <a:spLocks/>
          </p:cNvSpPr>
          <p:nvPr/>
        </p:nvSpPr>
        <p:spPr bwMode="gray">
          <a:xfrm>
            <a:off x="474742" y="3385279"/>
            <a:ext cx="3072879" cy="687518"/>
          </a:xfrm>
          <a:prstGeom prst="homePlate">
            <a:avLst/>
          </a:prstGeom>
          <a:solidFill>
            <a:srgbClr val="693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group_by</a:t>
            </a:r>
            <a:endParaRPr lang="en-US" sz="2800" dirty="0"/>
          </a:p>
        </p:txBody>
      </p:sp>
      <p:sp>
        <p:nvSpPr>
          <p:cNvPr id="14" name="Pentagon 27">
            <a:extLst>
              <a:ext uri="{FF2B5EF4-FFF2-40B4-BE49-F238E27FC236}">
                <a16:creationId xmlns:a16="http://schemas.microsoft.com/office/drawing/2014/main" id="{8C713179-9C6F-477A-9AA5-45F1E011B977}"/>
              </a:ext>
            </a:extLst>
          </p:cNvPr>
          <p:cNvSpPr>
            <a:spLocks/>
          </p:cNvSpPr>
          <p:nvPr/>
        </p:nvSpPr>
        <p:spPr bwMode="gray">
          <a:xfrm>
            <a:off x="474742" y="4255677"/>
            <a:ext cx="3072879" cy="687518"/>
          </a:xfrm>
          <a:prstGeom prst="homePlate">
            <a:avLst/>
          </a:prstGeom>
          <a:solidFill>
            <a:srgbClr val="693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summarise</a:t>
            </a:r>
            <a:endParaRPr lang="en-US" sz="2800" dirty="0"/>
          </a:p>
        </p:txBody>
      </p:sp>
      <p:sp>
        <p:nvSpPr>
          <p:cNvPr id="15" name="Pentagon 29">
            <a:extLst>
              <a:ext uri="{FF2B5EF4-FFF2-40B4-BE49-F238E27FC236}">
                <a16:creationId xmlns:a16="http://schemas.microsoft.com/office/drawing/2014/main" id="{FD89E5BC-C345-4EC4-8AC1-0113A020B074}"/>
              </a:ext>
            </a:extLst>
          </p:cNvPr>
          <p:cNvSpPr>
            <a:spLocks/>
          </p:cNvSpPr>
          <p:nvPr/>
        </p:nvSpPr>
        <p:spPr bwMode="gray">
          <a:xfrm>
            <a:off x="474742" y="2514881"/>
            <a:ext cx="3072879" cy="687518"/>
          </a:xfrm>
          <a:prstGeom prst="homePlate">
            <a:avLst/>
          </a:prstGeom>
          <a:solidFill>
            <a:srgbClr val="693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filter</a:t>
            </a:r>
            <a:endParaRPr lang="en-US" sz="28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5E0D55-BA82-402B-BD5B-AD343B237596}"/>
              </a:ext>
            </a:extLst>
          </p:cNvPr>
          <p:cNvSpPr/>
          <p:nvPr/>
        </p:nvSpPr>
        <p:spPr>
          <a:xfrm>
            <a:off x="3948012" y="1769747"/>
            <a:ext cx="76801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keeps only the variables you men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10BAC3-3A7F-44F9-AD9C-EE8A9F4E5D11}"/>
              </a:ext>
            </a:extLst>
          </p:cNvPr>
          <p:cNvSpPr>
            <a:spLocks/>
          </p:cNvSpPr>
          <p:nvPr/>
        </p:nvSpPr>
        <p:spPr>
          <a:xfrm>
            <a:off x="3948012" y="2644844"/>
            <a:ext cx="55804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ind rows/cases where conditions are tru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EDE823-1D63-4FC1-9C0C-F4D91CB9F281}"/>
              </a:ext>
            </a:extLst>
          </p:cNvPr>
          <p:cNvSpPr>
            <a:spLocks/>
          </p:cNvSpPr>
          <p:nvPr/>
        </p:nvSpPr>
        <p:spPr>
          <a:xfrm>
            <a:off x="3948012" y="3407250"/>
            <a:ext cx="768012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akes an existing table and converts it into a grouped table where operations are performed "by group"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7EA0864-60FE-435A-9537-18D3FEC0EAA7}"/>
              </a:ext>
            </a:extLst>
          </p:cNvPr>
          <p:cNvSpPr>
            <a:spLocks/>
          </p:cNvSpPr>
          <p:nvPr/>
        </p:nvSpPr>
        <p:spPr>
          <a:xfrm>
            <a:off x="3948012" y="4276270"/>
            <a:ext cx="768012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s typically used on grouped data created by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group_b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). The output will have one row for each group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29849E7-0FDF-4FD1-8E00-3EF43B16E6CA}"/>
              </a:ext>
            </a:extLst>
          </p:cNvPr>
          <p:cNvSpPr txBox="1"/>
          <p:nvPr/>
        </p:nvSpPr>
        <p:spPr>
          <a:xfrm>
            <a:off x="298174" y="6308209"/>
            <a:ext cx="4890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Access </a:t>
            </a:r>
            <a:r>
              <a:rPr lang="nl-NL" dirty="0" err="1">
                <a:solidFill>
                  <a:schemeClr val="bg1"/>
                </a:solidFill>
              </a:rPr>
              <a:t>session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aterials</a:t>
            </a:r>
            <a:r>
              <a:rPr lang="nl-NL" dirty="0">
                <a:solidFill>
                  <a:schemeClr val="bg1"/>
                </a:solidFill>
              </a:rPr>
              <a:t>: https://bit.ly/3cWcIsV</a:t>
            </a:r>
          </a:p>
        </p:txBody>
      </p:sp>
    </p:spTree>
    <p:extLst>
      <p:ext uri="{BB962C8B-B14F-4D97-AF65-F5344CB8AC3E}">
        <p14:creationId xmlns:p14="http://schemas.microsoft.com/office/powerpoint/2010/main" val="18398024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65F714-0579-4609-A411-AEE81F7988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893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65F714-0579-4609-A411-AEE81F7988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C696B57-5A5C-453F-8356-17F866A784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4C90B0-FCF0-4BA5-B91D-DEFB90BA2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82" y="453640"/>
            <a:ext cx="10515600" cy="1325563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69369B"/>
                </a:solidFill>
                <a:latin typeface="Arial Black" panose="020B0A04020102020204" pitchFamily="34" charset="0"/>
              </a:rPr>
              <a:t>Additional resources on R</a:t>
            </a:r>
            <a:endParaRPr lang="nl-NL" sz="3600" b="1" dirty="0">
              <a:solidFill>
                <a:srgbClr val="69369B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7E4D8F-FE78-4986-82CA-B72932C141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8226" y="2053022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https://rstudio.com/resources/cheatsheets/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tonnes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cheetsheets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many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topics</a:t>
            </a:r>
          </a:p>
          <a:p>
            <a:pPr marL="0" indent="0">
              <a:buNone/>
            </a:pP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www.stackoverflow.com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 –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your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number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one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source on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troubleshooting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errors</a:t>
            </a:r>
            <a:endParaRPr lang="nl-N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https://rstudio.cloud/learn/primers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learn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more of </a:t>
            </a:r>
            <a:r>
              <a:rPr lang="nl-NL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nl-NL" dirty="0">
                <a:latin typeface="Arial" panose="020B0604020202020204" pitchFamily="34" charset="0"/>
                <a:cs typeface="Arial" panose="020B0604020202020204" pitchFamily="34" charset="0"/>
              </a:rPr>
              <a:t> basic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78C7BC-99F5-40A3-82E6-38B23B7A677E}"/>
              </a:ext>
            </a:extLst>
          </p:cNvPr>
          <p:cNvGrpSpPr/>
          <p:nvPr/>
        </p:nvGrpSpPr>
        <p:grpSpPr>
          <a:xfrm>
            <a:off x="6281530" y="164280"/>
            <a:ext cx="5617543" cy="385511"/>
            <a:chOff x="1954696" y="1965704"/>
            <a:chExt cx="6819162" cy="548642"/>
          </a:xfrm>
        </p:grpSpPr>
        <p:sp>
          <p:nvSpPr>
            <p:cNvPr id="8" name="Pentagon 15">
              <a:extLst>
                <a:ext uri="{FF2B5EF4-FFF2-40B4-BE49-F238E27FC236}">
                  <a16:creationId xmlns:a16="http://schemas.microsoft.com/office/drawing/2014/main" id="{46182B75-ED6F-4432-AD46-8FAE284A5B5A}"/>
                </a:ext>
              </a:extLst>
            </p:cNvPr>
            <p:cNvSpPr/>
            <p:nvPr/>
          </p:nvSpPr>
          <p:spPr>
            <a:xfrm>
              <a:off x="1954696" y="1965704"/>
              <a:ext cx="1828800" cy="548640"/>
            </a:xfrm>
            <a:prstGeom prst="homePlate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keeping</a:t>
              </a:r>
            </a:p>
          </p:txBody>
        </p:sp>
        <p:sp>
          <p:nvSpPr>
            <p:cNvPr id="9" name="Chevron 17">
              <a:extLst>
                <a:ext uri="{FF2B5EF4-FFF2-40B4-BE49-F238E27FC236}">
                  <a16:creationId xmlns:a16="http://schemas.microsoft.com/office/drawing/2014/main" id="{3C14A110-CF5F-4D15-A172-C66F10738057}"/>
                </a:ext>
              </a:extLst>
            </p:cNvPr>
            <p:cNvSpPr/>
            <p:nvPr/>
          </p:nvSpPr>
          <p:spPr>
            <a:xfrm>
              <a:off x="3618150" y="1965706"/>
              <a:ext cx="1828800" cy="548640"/>
            </a:xfrm>
            <a:prstGeom prst="chevron">
              <a:avLst/>
            </a:prstGeom>
            <a:solidFill>
              <a:srgbClr val="69369B"/>
            </a:solidFill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 to R</a:t>
              </a:r>
            </a:p>
          </p:txBody>
        </p:sp>
        <p:sp>
          <p:nvSpPr>
            <p:cNvPr id="10" name="Chevron 18">
              <a:extLst>
                <a:ext uri="{FF2B5EF4-FFF2-40B4-BE49-F238E27FC236}">
                  <a16:creationId xmlns:a16="http://schemas.microsoft.com/office/drawing/2014/main" id="{4F083EEB-516C-48A3-82EA-FCAF450755A1}"/>
                </a:ext>
              </a:extLst>
            </p:cNvPr>
            <p:cNvSpPr/>
            <p:nvPr/>
          </p:nvSpPr>
          <p:spPr>
            <a:xfrm>
              <a:off x="5281604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Markdown</a:t>
              </a:r>
              <a:endPara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Chevron 24">
              <a:extLst>
                <a:ext uri="{FF2B5EF4-FFF2-40B4-BE49-F238E27FC236}">
                  <a16:creationId xmlns:a16="http://schemas.microsoft.com/office/drawing/2014/main" id="{45382328-E322-46D6-AADC-FD5FDF2C514F}"/>
                </a:ext>
              </a:extLst>
            </p:cNvPr>
            <p:cNvSpPr/>
            <p:nvPr/>
          </p:nvSpPr>
          <p:spPr>
            <a:xfrm>
              <a:off x="6945058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mo</a:t>
              </a:r>
            </a:p>
          </p:txBody>
        </p:sp>
      </p:grpSp>
      <p:sp>
        <p:nvSpPr>
          <p:cNvPr id="12" name="Freeform 59">
            <a:extLst>
              <a:ext uri="{FF2B5EF4-FFF2-40B4-BE49-F238E27FC236}">
                <a16:creationId xmlns:a16="http://schemas.microsoft.com/office/drawing/2014/main" id="{C32756BD-46B8-4C01-9C3F-E52FB17A1A49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87017" y="2309952"/>
            <a:ext cx="517074" cy="517074"/>
          </a:xfrm>
          <a:custGeom>
            <a:avLst/>
            <a:gdLst>
              <a:gd name="T0" fmla="*/ 147 w 512"/>
              <a:gd name="T1" fmla="*/ 170 h 512"/>
              <a:gd name="T2" fmla="*/ 201 w 512"/>
              <a:gd name="T3" fmla="*/ 170 h 512"/>
              <a:gd name="T4" fmla="*/ 223 w 512"/>
              <a:gd name="T5" fmla="*/ 170 h 512"/>
              <a:gd name="T6" fmla="*/ 256 w 512"/>
              <a:gd name="T7" fmla="*/ 117 h 512"/>
              <a:gd name="T8" fmla="*/ 133 w 512"/>
              <a:gd name="T9" fmla="*/ 192 h 512"/>
              <a:gd name="T10" fmla="*/ 192 w 512"/>
              <a:gd name="T11" fmla="*/ 245 h 512"/>
              <a:gd name="T12" fmla="*/ 218 w 512"/>
              <a:gd name="T13" fmla="*/ 320 h 512"/>
              <a:gd name="T14" fmla="*/ 298 w 512"/>
              <a:gd name="T15" fmla="*/ 266 h 512"/>
              <a:gd name="T16" fmla="*/ 218 w 512"/>
              <a:gd name="T17" fmla="*/ 320 h 512"/>
              <a:gd name="T18" fmla="*/ 292 w 512"/>
              <a:gd name="T19" fmla="*/ 122 h 512"/>
              <a:gd name="T20" fmla="*/ 365 w 512"/>
              <a:gd name="T21" fmla="*/ 170 h 512"/>
              <a:gd name="T22" fmla="*/ 218 w 512"/>
              <a:gd name="T23" fmla="*/ 192 h 512"/>
              <a:gd name="T24" fmla="*/ 298 w 512"/>
              <a:gd name="T25" fmla="*/ 245 h 512"/>
              <a:gd name="T26" fmla="*/ 192 w 512"/>
              <a:gd name="T27" fmla="*/ 266 h 512"/>
              <a:gd name="T28" fmla="*/ 133 w 512"/>
              <a:gd name="T29" fmla="*/ 320 h 512"/>
              <a:gd name="T30" fmla="*/ 192 w 512"/>
              <a:gd name="T31" fmla="*/ 266 h 512"/>
              <a:gd name="T32" fmla="*/ 394 w 512"/>
              <a:gd name="T33" fmla="*/ 245 h 512"/>
              <a:gd name="T34" fmla="*/ 314 w 512"/>
              <a:gd name="T35" fmla="*/ 192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256 w 512"/>
              <a:gd name="T43" fmla="*/ 96 h 512"/>
              <a:gd name="T44" fmla="*/ 256 w 512"/>
              <a:gd name="T45" fmla="*/ 416 h 512"/>
              <a:gd name="T46" fmla="*/ 314 w 512"/>
              <a:gd name="T47" fmla="*/ 320 h 512"/>
              <a:gd name="T48" fmla="*/ 394 w 512"/>
              <a:gd name="T49" fmla="*/ 266 h 512"/>
              <a:gd name="T50" fmla="*/ 314 w 512"/>
              <a:gd name="T51" fmla="*/ 320 h 512"/>
              <a:gd name="T52" fmla="*/ 220 w 512"/>
              <a:gd name="T53" fmla="*/ 389 h 512"/>
              <a:gd name="T54" fmla="*/ 147 w 512"/>
              <a:gd name="T55" fmla="*/ 341 h 512"/>
              <a:gd name="T56" fmla="*/ 365 w 512"/>
              <a:gd name="T57" fmla="*/ 341 h 512"/>
              <a:gd name="T58" fmla="*/ 292 w 512"/>
              <a:gd name="T59" fmla="*/ 389 h 512"/>
              <a:gd name="T60" fmla="*/ 288 w 512"/>
              <a:gd name="T61" fmla="*/ 341 h 512"/>
              <a:gd name="T62" fmla="*/ 256 w 512"/>
              <a:gd name="T63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01" y="170"/>
                </a:moveTo>
                <a:cubicBezTo>
                  <a:pt x="147" y="170"/>
                  <a:pt x="147" y="170"/>
                  <a:pt x="147" y="170"/>
                </a:cubicBezTo>
                <a:cubicBezTo>
                  <a:pt x="165" y="147"/>
                  <a:pt x="190" y="130"/>
                  <a:pt x="220" y="122"/>
                </a:cubicBezTo>
                <a:cubicBezTo>
                  <a:pt x="212" y="135"/>
                  <a:pt x="206" y="151"/>
                  <a:pt x="201" y="170"/>
                </a:cubicBezTo>
                <a:close/>
                <a:moveTo>
                  <a:pt x="256" y="117"/>
                </a:moveTo>
                <a:cubicBezTo>
                  <a:pt x="245" y="117"/>
                  <a:pt x="232" y="137"/>
                  <a:pt x="223" y="170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79" y="137"/>
                  <a:pt x="266" y="117"/>
                  <a:pt x="256" y="117"/>
                </a:cubicBezTo>
                <a:close/>
                <a:moveTo>
                  <a:pt x="197" y="192"/>
                </a:moveTo>
                <a:cubicBezTo>
                  <a:pt x="133" y="192"/>
                  <a:pt x="133" y="192"/>
                  <a:pt x="133" y="192"/>
                </a:cubicBezTo>
                <a:cubicBezTo>
                  <a:pt x="124" y="208"/>
                  <a:pt x="119" y="226"/>
                  <a:pt x="118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92" y="227"/>
                  <a:pt x="194" y="209"/>
                  <a:pt x="197" y="192"/>
                </a:cubicBezTo>
                <a:close/>
                <a:moveTo>
                  <a:pt x="218" y="320"/>
                </a:moveTo>
                <a:cubicBezTo>
                  <a:pt x="293" y="320"/>
                  <a:pt x="293" y="320"/>
                  <a:pt x="293" y="320"/>
                </a:cubicBezTo>
                <a:cubicBezTo>
                  <a:pt x="296" y="304"/>
                  <a:pt x="298" y="286"/>
                  <a:pt x="298" y="266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214" y="286"/>
                  <a:pt x="216" y="304"/>
                  <a:pt x="218" y="320"/>
                </a:cubicBezTo>
                <a:close/>
                <a:moveTo>
                  <a:pt x="365" y="170"/>
                </a:moveTo>
                <a:cubicBezTo>
                  <a:pt x="347" y="147"/>
                  <a:pt x="321" y="130"/>
                  <a:pt x="292" y="122"/>
                </a:cubicBezTo>
                <a:cubicBezTo>
                  <a:pt x="299" y="135"/>
                  <a:pt x="306" y="151"/>
                  <a:pt x="310" y="170"/>
                </a:cubicBezTo>
                <a:lnTo>
                  <a:pt x="365" y="170"/>
                </a:lnTo>
                <a:close/>
                <a:moveTo>
                  <a:pt x="293" y="192"/>
                </a:moveTo>
                <a:cubicBezTo>
                  <a:pt x="218" y="192"/>
                  <a:pt x="218" y="192"/>
                  <a:pt x="218" y="192"/>
                </a:cubicBezTo>
                <a:cubicBezTo>
                  <a:pt x="216" y="207"/>
                  <a:pt x="214" y="225"/>
                  <a:pt x="213" y="245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98" y="225"/>
                  <a:pt x="296" y="207"/>
                  <a:pt x="293" y="192"/>
                </a:cubicBezTo>
                <a:close/>
                <a:moveTo>
                  <a:pt x="192" y="266"/>
                </a:moveTo>
                <a:cubicBezTo>
                  <a:pt x="118" y="266"/>
                  <a:pt x="118" y="266"/>
                  <a:pt x="118" y="266"/>
                </a:cubicBezTo>
                <a:cubicBezTo>
                  <a:pt x="119" y="285"/>
                  <a:pt x="124" y="303"/>
                  <a:pt x="133" y="320"/>
                </a:cubicBezTo>
                <a:cubicBezTo>
                  <a:pt x="197" y="320"/>
                  <a:pt x="197" y="320"/>
                  <a:pt x="197" y="320"/>
                </a:cubicBezTo>
                <a:cubicBezTo>
                  <a:pt x="194" y="303"/>
                  <a:pt x="192" y="284"/>
                  <a:pt x="192" y="266"/>
                </a:cubicBezTo>
                <a:close/>
                <a:moveTo>
                  <a:pt x="319" y="245"/>
                </a:moveTo>
                <a:cubicBezTo>
                  <a:pt x="394" y="245"/>
                  <a:pt x="394" y="245"/>
                  <a:pt x="394" y="245"/>
                </a:cubicBezTo>
                <a:cubicBezTo>
                  <a:pt x="392" y="226"/>
                  <a:pt x="387" y="208"/>
                  <a:pt x="379" y="192"/>
                </a:cubicBezTo>
                <a:cubicBezTo>
                  <a:pt x="314" y="192"/>
                  <a:pt x="314" y="192"/>
                  <a:pt x="314" y="192"/>
                </a:cubicBezTo>
                <a:cubicBezTo>
                  <a:pt x="317" y="209"/>
                  <a:pt x="319" y="227"/>
                  <a:pt x="319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167" y="96"/>
                  <a:pt x="96" y="167"/>
                  <a:pt x="96" y="256"/>
                </a:cubicBezTo>
                <a:cubicBezTo>
                  <a:pt x="96" y="344"/>
                  <a:pt x="167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314" y="320"/>
                </a:moveTo>
                <a:cubicBezTo>
                  <a:pt x="379" y="320"/>
                  <a:pt x="379" y="320"/>
                  <a:pt x="379" y="320"/>
                </a:cubicBezTo>
                <a:cubicBezTo>
                  <a:pt x="387" y="303"/>
                  <a:pt x="392" y="285"/>
                  <a:pt x="394" y="266"/>
                </a:cubicBezTo>
                <a:cubicBezTo>
                  <a:pt x="319" y="266"/>
                  <a:pt x="319" y="266"/>
                  <a:pt x="319" y="266"/>
                </a:cubicBezTo>
                <a:cubicBezTo>
                  <a:pt x="319" y="284"/>
                  <a:pt x="317" y="303"/>
                  <a:pt x="314" y="320"/>
                </a:cubicBezTo>
                <a:close/>
                <a:moveTo>
                  <a:pt x="147" y="341"/>
                </a:moveTo>
                <a:cubicBezTo>
                  <a:pt x="165" y="364"/>
                  <a:pt x="190" y="381"/>
                  <a:pt x="220" y="389"/>
                </a:cubicBezTo>
                <a:cubicBezTo>
                  <a:pt x="212" y="377"/>
                  <a:pt x="206" y="360"/>
                  <a:pt x="201" y="341"/>
                </a:cubicBezTo>
                <a:lnTo>
                  <a:pt x="147" y="341"/>
                </a:lnTo>
                <a:close/>
                <a:moveTo>
                  <a:pt x="292" y="389"/>
                </a:moveTo>
                <a:cubicBezTo>
                  <a:pt x="321" y="381"/>
                  <a:pt x="347" y="364"/>
                  <a:pt x="365" y="341"/>
                </a:cubicBezTo>
                <a:cubicBezTo>
                  <a:pt x="310" y="341"/>
                  <a:pt x="310" y="341"/>
                  <a:pt x="310" y="341"/>
                </a:cubicBezTo>
                <a:cubicBezTo>
                  <a:pt x="306" y="360"/>
                  <a:pt x="299" y="377"/>
                  <a:pt x="292" y="389"/>
                </a:cubicBezTo>
                <a:close/>
                <a:moveTo>
                  <a:pt x="256" y="394"/>
                </a:moveTo>
                <a:cubicBezTo>
                  <a:pt x="266" y="394"/>
                  <a:pt x="279" y="375"/>
                  <a:pt x="288" y="341"/>
                </a:cubicBezTo>
                <a:cubicBezTo>
                  <a:pt x="223" y="341"/>
                  <a:pt x="223" y="341"/>
                  <a:pt x="223" y="341"/>
                </a:cubicBezTo>
                <a:cubicBezTo>
                  <a:pt x="232" y="375"/>
                  <a:pt x="245" y="394"/>
                  <a:pt x="256" y="394"/>
                </a:cubicBezTo>
                <a:close/>
              </a:path>
            </a:pathLst>
          </a:custGeom>
          <a:solidFill>
            <a:srgbClr val="69369B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Freeform 59">
            <a:extLst>
              <a:ext uri="{FF2B5EF4-FFF2-40B4-BE49-F238E27FC236}">
                <a16:creationId xmlns:a16="http://schemas.microsoft.com/office/drawing/2014/main" id="{A99B9C98-0B03-4590-8C1D-E7A6F2E3FCAC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78734" y="3116015"/>
            <a:ext cx="517074" cy="517074"/>
          </a:xfrm>
          <a:custGeom>
            <a:avLst/>
            <a:gdLst>
              <a:gd name="T0" fmla="*/ 147 w 512"/>
              <a:gd name="T1" fmla="*/ 170 h 512"/>
              <a:gd name="T2" fmla="*/ 201 w 512"/>
              <a:gd name="T3" fmla="*/ 170 h 512"/>
              <a:gd name="T4" fmla="*/ 223 w 512"/>
              <a:gd name="T5" fmla="*/ 170 h 512"/>
              <a:gd name="T6" fmla="*/ 256 w 512"/>
              <a:gd name="T7" fmla="*/ 117 h 512"/>
              <a:gd name="T8" fmla="*/ 133 w 512"/>
              <a:gd name="T9" fmla="*/ 192 h 512"/>
              <a:gd name="T10" fmla="*/ 192 w 512"/>
              <a:gd name="T11" fmla="*/ 245 h 512"/>
              <a:gd name="T12" fmla="*/ 218 w 512"/>
              <a:gd name="T13" fmla="*/ 320 h 512"/>
              <a:gd name="T14" fmla="*/ 298 w 512"/>
              <a:gd name="T15" fmla="*/ 266 h 512"/>
              <a:gd name="T16" fmla="*/ 218 w 512"/>
              <a:gd name="T17" fmla="*/ 320 h 512"/>
              <a:gd name="T18" fmla="*/ 292 w 512"/>
              <a:gd name="T19" fmla="*/ 122 h 512"/>
              <a:gd name="T20" fmla="*/ 365 w 512"/>
              <a:gd name="T21" fmla="*/ 170 h 512"/>
              <a:gd name="T22" fmla="*/ 218 w 512"/>
              <a:gd name="T23" fmla="*/ 192 h 512"/>
              <a:gd name="T24" fmla="*/ 298 w 512"/>
              <a:gd name="T25" fmla="*/ 245 h 512"/>
              <a:gd name="T26" fmla="*/ 192 w 512"/>
              <a:gd name="T27" fmla="*/ 266 h 512"/>
              <a:gd name="T28" fmla="*/ 133 w 512"/>
              <a:gd name="T29" fmla="*/ 320 h 512"/>
              <a:gd name="T30" fmla="*/ 192 w 512"/>
              <a:gd name="T31" fmla="*/ 266 h 512"/>
              <a:gd name="T32" fmla="*/ 394 w 512"/>
              <a:gd name="T33" fmla="*/ 245 h 512"/>
              <a:gd name="T34" fmla="*/ 314 w 512"/>
              <a:gd name="T35" fmla="*/ 192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256 w 512"/>
              <a:gd name="T43" fmla="*/ 96 h 512"/>
              <a:gd name="T44" fmla="*/ 256 w 512"/>
              <a:gd name="T45" fmla="*/ 416 h 512"/>
              <a:gd name="T46" fmla="*/ 314 w 512"/>
              <a:gd name="T47" fmla="*/ 320 h 512"/>
              <a:gd name="T48" fmla="*/ 394 w 512"/>
              <a:gd name="T49" fmla="*/ 266 h 512"/>
              <a:gd name="T50" fmla="*/ 314 w 512"/>
              <a:gd name="T51" fmla="*/ 320 h 512"/>
              <a:gd name="T52" fmla="*/ 220 w 512"/>
              <a:gd name="T53" fmla="*/ 389 h 512"/>
              <a:gd name="T54" fmla="*/ 147 w 512"/>
              <a:gd name="T55" fmla="*/ 341 h 512"/>
              <a:gd name="T56" fmla="*/ 365 w 512"/>
              <a:gd name="T57" fmla="*/ 341 h 512"/>
              <a:gd name="T58" fmla="*/ 292 w 512"/>
              <a:gd name="T59" fmla="*/ 389 h 512"/>
              <a:gd name="T60" fmla="*/ 288 w 512"/>
              <a:gd name="T61" fmla="*/ 341 h 512"/>
              <a:gd name="T62" fmla="*/ 256 w 512"/>
              <a:gd name="T63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01" y="170"/>
                </a:moveTo>
                <a:cubicBezTo>
                  <a:pt x="147" y="170"/>
                  <a:pt x="147" y="170"/>
                  <a:pt x="147" y="170"/>
                </a:cubicBezTo>
                <a:cubicBezTo>
                  <a:pt x="165" y="147"/>
                  <a:pt x="190" y="130"/>
                  <a:pt x="220" y="122"/>
                </a:cubicBezTo>
                <a:cubicBezTo>
                  <a:pt x="212" y="135"/>
                  <a:pt x="206" y="151"/>
                  <a:pt x="201" y="170"/>
                </a:cubicBezTo>
                <a:close/>
                <a:moveTo>
                  <a:pt x="256" y="117"/>
                </a:moveTo>
                <a:cubicBezTo>
                  <a:pt x="245" y="117"/>
                  <a:pt x="232" y="137"/>
                  <a:pt x="223" y="170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79" y="137"/>
                  <a:pt x="266" y="117"/>
                  <a:pt x="256" y="117"/>
                </a:cubicBezTo>
                <a:close/>
                <a:moveTo>
                  <a:pt x="197" y="192"/>
                </a:moveTo>
                <a:cubicBezTo>
                  <a:pt x="133" y="192"/>
                  <a:pt x="133" y="192"/>
                  <a:pt x="133" y="192"/>
                </a:cubicBezTo>
                <a:cubicBezTo>
                  <a:pt x="124" y="208"/>
                  <a:pt x="119" y="226"/>
                  <a:pt x="118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92" y="227"/>
                  <a:pt x="194" y="209"/>
                  <a:pt x="197" y="192"/>
                </a:cubicBezTo>
                <a:close/>
                <a:moveTo>
                  <a:pt x="218" y="320"/>
                </a:moveTo>
                <a:cubicBezTo>
                  <a:pt x="293" y="320"/>
                  <a:pt x="293" y="320"/>
                  <a:pt x="293" y="320"/>
                </a:cubicBezTo>
                <a:cubicBezTo>
                  <a:pt x="296" y="304"/>
                  <a:pt x="298" y="286"/>
                  <a:pt x="298" y="266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214" y="286"/>
                  <a:pt x="216" y="304"/>
                  <a:pt x="218" y="320"/>
                </a:cubicBezTo>
                <a:close/>
                <a:moveTo>
                  <a:pt x="365" y="170"/>
                </a:moveTo>
                <a:cubicBezTo>
                  <a:pt x="347" y="147"/>
                  <a:pt x="321" y="130"/>
                  <a:pt x="292" y="122"/>
                </a:cubicBezTo>
                <a:cubicBezTo>
                  <a:pt x="299" y="135"/>
                  <a:pt x="306" y="151"/>
                  <a:pt x="310" y="170"/>
                </a:cubicBezTo>
                <a:lnTo>
                  <a:pt x="365" y="170"/>
                </a:lnTo>
                <a:close/>
                <a:moveTo>
                  <a:pt x="293" y="192"/>
                </a:moveTo>
                <a:cubicBezTo>
                  <a:pt x="218" y="192"/>
                  <a:pt x="218" y="192"/>
                  <a:pt x="218" y="192"/>
                </a:cubicBezTo>
                <a:cubicBezTo>
                  <a:pt x="216" y="207"/>
                  <a:pt x="214" y="225"/>
                  <a:pt x="213" y="245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98" y="225"/>
                  <a:pt x="296" y="207"/>
                  <a:pt x="293" y="192"/>
                </a:cubicBezTo>
                <a:close/>
                <a:moveTo>
                  <a:pt x="192" y="266"/>
                </a:moveTo>
                <a:cubicBezTo>
                  <a:pt x="118" y="266"/>
                  <a:pt x="118" y="266"/>
                  <a:pt x="118" y="266"/>
                </a:cubicBezTo>
                <a:cubicBezTo>
                  <a:pt x="119" y="285"/>
                  <a:pt x="124" y="303"/>
                  <a:pt x="133" y="320"/>
                </a:cubicBezTo>
                <a:cubicBezTo>
                  <a:pt x="197" y="320"/>
                  <a:pt x="197" y="320"/>
                  <a:pt x="197" y="320"/>
                </a:cubicBezTo>
                <a:cubicBezTo>
                  <a:pt x="194" y="303"/>
                  <a:pt x="192" y="284"/>
                  <a:pt x="192" y="266"/>
                </a:cubicBezTo>
                <a:close/>
                <a:moveTo>
                  <a:pt x="319" y="245"/>
                </a:moveTo>
                <a:cubicBezTo>
                  <a:pt x="394" y="245"/>
                  <a:pt x="394" y="245"/>
                  <a:pt x="394" y="245"/>
                </a:cubicBezTo>
                <a:cubicBezTo>
                  <a:pt x="392" y="226"/>
                  <a:pt x="387" y="208"/>
                  <a:pt x="379" y="192"/>
                </a:cubicBezTo>
                <a:cubicBezTo>
                  <a:pt x="314" y="192"/>
                  <a:pt x="314" y="192"/>
                  <a:pt x="314" y="192"/>
                </a:cubicBezTo>
                <a:cubicBezTo>
                  <a:pt x="317" y="209"/>
                  <a:pt x="319" y="227"/>
                  <a:pt x="319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167" y="96"/>
                  <a:pt x="96" y="167"/>
                  <a:pt x="96" y="256"/>
                </a:cubicBezTo>
                <a:cubicBezTo>
                  <a:pt x="96" y="344"/>
                  <a:pt x="167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314" y="320"/>
                </a:moveTo>
                <a:cubicBezTo>
                  <a:pt x="379" y="320"/>
                  <a:pt x="379" y="320"/>
                  <a:pt x="379" y="320"/>
                </a:cubicBezTo>
                <a:cubicBezTo>
                  <a:pt x="387" y="303"/>
                  <a:pt x="392" y="285"/>
                  <a:pt x="394" y="266"/>
                </a:cubicBezTo>
                <a:cubicBezTo>
                  <a:pt x="319" y="266"/>
                  <a:pt x="319" y="266"/>
                  <a:pt x="319" y="266"/>
                </a:cubicBezTo>
                <a:cubicBezTo>
                  <a:pt x="319" y="284"/>
                  <a:pt x="317" y="303"/>
                  <a:pt x="314" y="320"/>
                </a:cubicBezTo>
                <a:close/>
                <a:moveTo>
                  <a:pt x="147" y="341"/>
                </a:moveTo>
                <a:cubicBezTo>
                  <a:pt x="165" y="364"/>
                  <a:pt x="190" y="381"/>
                  <a:pt x="220" y="389"/>
                </a:cubicBezTo>
                <a:cubicBezTo>
                  <a:pt x="212" y="377"/>
                  <a:pt x="206" y="360"/>
                  <a:pt x="201" y="341"/>
                </a:cubicBezTo>
                <a:lnTo>
                  <a:pt x="147" y="341"/>
                </a:lnTo>
                <a:close/>
                <a:moveTo>
                  <a:pt x="292" y="389"/>
                </a:moveTo>
                <a:cubicBezTo>
                  <a:pt x="321" y="381"/>
                  <a:pt x="347" y="364"/>
                  <a:pt x="365" y="341"/>
                </a:cubicBezTo>
                <a:cubicBezTo>
                  <a:pt x="310" y="341"/>
                  <a:pt x="310" y="341"/>
                  <a:pt x="310" y="341"/>
                </a:cubicBezTo>
                <a:cubicBezTo>
                  <a:pt x="306" y="360"/>
                  <a:pt x="299" y="377"/>
                  <a:pt x="292" y="389"/>
                </a:cubicBezTo>
                <a:close/>
                <a:moveTo>
                  <a:pt x="256" y="394"/>
                </a:moveTo>
                <a:cubicBezTo>
                  <a:pt x="266" y="394"/>
                  <a:pt x="279" y="375"/>
                  <a:pt x="288" y="341"/>
                </a:cubicBezTo>
                <a:cubicBezTo>
                  <a:pt x="223" y="341"/>
                  <a:pt x="223" y="341"/>
                  <a:pt x="223" y="341"/>
                </a:cubicBezTo>
                <a:cubicBezTo>
                  <a:pt x="232" y="375"/>
                  <a:pt x="245" y="394"/>
                  <a:pt x="256" y="394"/>
                </a:cubicBezTo>
                <a:close/>
              </a:path>
            </a:pathLst>
          </a:custGeom>
          <a:solidFill>
            <a:srgbClr val="69369B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Freeform 59">
            <a:extLst>
              <a:ext uri="{FF2B5EF4-FFF2-40B4-BE49-F238E27FC236}">
                <a16:creationId xmlns:a16="http://schemas.microsoft.com/office/drawing/2014/main" id="{2AACF682-9AF1-44C8-B857-20FDFA9473FF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87017" y="3922079"/>
            <a:ext cx="517074" cy="517074"/>
          </a:xfrm>
          <a:custGeom>
            <a:avLst/>
            <a:gdLst>
              <a:gd name="T0" fmla="*/ 147 w 512"/>
              <a:gd name="T1" fmla="*/ 170 h 512"/>
              <a:gd name="T2" fmla="*/ 201 w 512"/>
              <a:gd name="T3" fmla="*/ 170 h 512"/>
              <a:gd name="T4" fmla="*/ 223 w 512"/>
              <a:gd name="T5" fmla="*/ 170 h 512"/>
              <a:gd name="T6" fmla="*/ 256 w 512"/>
              <a:gd name="T7" fmla="*/ 117 h 512"/>
              <a:gd name="T8" fmla="*/ 133 w 512"/>
              <a:gd name="T9" fmla="*/ 192 h 512"/>
              <a:gd name="T10" fmla="*/ 192 w 512"/>
              <a:gd name="T11" fmla="*/ 245 h 512"/>
              <a:gd name="T12" fmla="*/ 218 w 512"/>
              <a:gd name="T13" fmla="*/ 320 h 512"/>
              <a:gd name="T14" fmla="*/ 298 w 512"/>
              <a:gd name="T15" fmla="*/ 266 h 512"/>
              <a:gd name="T16" fmla="*/ 218 w 512"/>
              <a:gd name="T17" fmla="*/ 320 h 512"/>
              <a:gd name="T18" fmla="*/ 292 w 512"/>
              <a:gd name="T19" fmla="*/ 122 h 512"/>
              <a:gd name="T20" fmla="*/ 365 w 512"/>
              <a:gd name="T21" fmla="*/ 170 h 512"/>
              <a:gd name="T22" fmla="*/ 218 w 512"/>
              <a:gd name="T23" fmla="*/ 192 h 512"/>
              <a:gd name="T24" fmla="*/ 298 w 512"/>
              <a:gd name="T25" fmla="*/ 245 h 512"/>
              <a:gd name="T26" fmla="*/ 192 w 512"/>
              <a:gd name="T27" fmla="*/ 266 h 512"/>
              <a:gd name="T28" fmla="*/ 133 w 512"/>
              <a:gd name="T29" fmla="*/ 320 h 512"/>
              <a:gd name="T30" fmla="*/ 192 w 512"/>
              <a:gd name="T31" fmla="*/ 266 h 512"/>
              <a:gd name="T32" fmla="*/ 394 w 512"/>
              <a:gd name="T33" fmla="*/ 245 h 512"/>
              <a:gd name="T34" fmla="*/ 314 w 512"/>
              <a:gd name="T35" fmla="*/ 192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256 w 512"/>
              <a:gd name="T43" fmla="*/ 96 h 512"/>
              <a:gd name="T44" fmla="*/ 256 w 512"/>
              <a:gd name="T45" fmla="*/ 416 h 512"/>
              <a:gd name="T46" fmla="*/ 314 w 512"/>
              <a:gd name="T47" fmla="*/ 320 h 512"/>
              <a:gd name="T48" fmla="*/ 394 w 512"/>
              <a:gd name="T49" fmla="*/ 266 h 512"/>
              <a:gd name="T50" fmla="*/ 314 w 512"/>
              <a:gd name="T51" fmla="*/ 320 h 512"/>
              <a:gd name="T52" fmla="*/ 220 w 512"/>
              <a:gd name="T53" fmla="*/ 389 h 512"/>
              <a:gd name="T54" fmla="*/ 147 w 512"/>
              <a:gd name="T55" fmla="*/ 341 h 512"/>
              <a:gd name="T56" fmla="*/ 365 w 512"/>
              <a:gd name="T57" fmla="*/ 341 h 512"/>
              <a:gd name="T58" fmla="*/ 292 w 512"/>
              <a:gd name="T59" fmla="*/ 389 h 512"/>
              <a:gd name="T60" fmla="*/ 288 w 512"/>
              <a:gd name="T61" fmla="*/ 341 h 512"/>
              <a:gd name="T62" fmla="*/ 256 w 512"/>
              <a:gd name="T63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01" y="170"/>
                </a:moveTo>
                <a:cubicBezTo>
                  <a:pt x="147" y="170"/>
                  <a:pt x="147" y="170"/>
                  <a:pt x="147" y="170"/>
                </a:cubicBezTo>
                <a:cubicBezTo>
                  <a:pt x="165" y="147"/>
                  <a:pt x="190" y="130"/>
                  <a:pt x="220" y="122"/>
                </a:cubicBezTo>
                <a:cubicBezTo>
                  <a:pt x="212" y="135"/>
                  <a:pt x="206" y="151"/>
                  <a:pt x="201" y="170"/>
                </a:cubicBezTo>
                <a:close/>
                <a:moveTo>
                  <a:pt x="256" y="117"/>
                </a:moveTo>
                <a:cubicBezTo>
                  <a:pt x="245" y="117"/>
                  <a:pt x="232" y="137"/>
                  <a:pt x="223" y="170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79" y="137"/>
                  <a:pt x="266" y="117"/>
                  <a:pt x="256" y="117"/>
                </a:cubicBezTo>
                <a:close/>
                <a:moveTo>
                  <a:pt x="197" y="192"/>
                </a:moveTo>
                <a:cubicBezTo>
                  <a:pt x="133" y="192"/>
                  <a:pt x="133" y="192"/>
                  <a:pt x="133" y="192"/>
                </a:cubicBezTo>
                <a:cubicBezTo>
                  <a:pt x="124" y="208"/>
                  <a:pt x="119" y="226"/>
                  <a:pt x="118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92" y="227"/>
                  <a:pt x="194" y="209"/>
                  <a:pt x="197" y="192"/>
                </a:cubicBezTo>
                <a:close/>
                <a:moveTo>
                  <a:pt x="218" y="320"/>
                </a:moveTo>
                <a:cubicBezTo>
                  <a:pt x="293" y="320"/>
                  <a:pt x="293" y="320"/>
                  <a:pt x="293" y="320"/>
                </a:cubicBezTo>
                <a:cubicBezTo>
                  <a:pt x="296" y="304"/>
                  <a:pt x="298" y="286"/>
                  <a:pt x="298" y="266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214" y="286"/>
                  <a:pt x="216" y="304"/>
                  <a:pt x="218" y="320"/>
                </a:cubicBezTo>
                <a:close/>
                <a:moveTo>
                  <a:pt x="365" y="170"/>
                </a:moveTo>
                <a:cubicBezTo>
                  <a:pt x="347" y="147"/>
                  <a:pt x="321" y="130"/>
                  <a:pt x="292" y="122"/>
                </a:cubicBezTo>
                <a:cubicBezTo>
                  <a:pt x="299" y="135"/>
                  <a:pt x="306" y="151"/>
                  <a:pt x="310" y="170"/>
                </a:cubicBezTo>
                <a:lnTo>
                  <a:pt x="365" y="170"/>
                </a:lnTo>
                <a:close/>
                <a:moveTo>
                  <a:pt x="293" y="192"/>
                </a:moveTo>
                <a:cubicBezTo>
                  <a:pt x="218" y="192"/>
                  <a:pt x="218" y="192"/>
                  <a:pt x="218" y="192"/>
                </a:cubicBezTo>
                <a:cubicBezTo>
                  <a:pt x="216" y="207"/>
                  <a:pt x="214" y="225"/>
                  <a:pt x="213" y="245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98" y="225"/>
                  <a:pt x="296" y="207"/>
                  <a:pt x="293" y="192"/>
                </a:cubicBezTo>
                <a:close/>
                <a:moveTo>
                  <a:pt x="192" y="266"/>
                </a:moveTo>
                <a:cubicBezTo>
                  <a:pt x="118" y="266"/>
                  <a:pt x="118" y="266"/>
                  <a:pt x="118" y="266"/>
                </a:cubicBezTo>
                <a:cubicBezTo>
                  <a:pt x="119" y="285"/>
                  <a:pt x="124" y="303"/>
                  <a:pt x="133" y="320"/>
                </a:cubicBezTo>
                <a:cubicBezTo>
                  <a:pt x="197" y="320"/>
                  <a:pt x="197" y="320"/>
                  <a:pt x="197" y="320"/>
                </a:cubicBezTo>
                <a:cubicBezTo>
                  <a:pt x="194" y="303"/>
                  <a:pt x="192" y="284"/>
                  <a:pt x="192" y="266"/>
                </a:cubicBezTo>
                <a:close/>
                <a:moveTo>
                  <a:pt x="319" y="245"/>
                </a:moveTo>
                <a:cubicBezTo>
                  <a:pt x="394" y="245"/>
                  <a:pt x="394" y="245"/>
                  <a:pt x="394" y="245"/>
                </a:cubicBezTo>
                <a:cubicBezTo>
                  <a:pt x="392" y="226"/>
                  <a:pt x="387" y="208"/>
                  <a:pt x="379" y="192"/>
                </a:cubicBezTo>
                <a:cubicBezTo>
                  <a:pt x="314" y="192"/>
                  <a:pt x="314" y="192"/>
                  <a:pt x="314" y="192"/>
                </a:cubicBezTo>
                <a:cubicBezTo>
                  <a:pt x="317" y="209"/>
                  <a:pt x="319" y="227"/>
                  <a:pt x="319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167" y="96"/>
                  <a:pt x="96" y="167"/>
                  <a:pt x="96" y="256"/>
                </a:cubicBezTo>
                <a:cubicBezTo>
                  <a:pt x="96" y="344"/>
                  <a:pt x="167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314" y="320"/>
                </a:moveTo>
                <a:cubicBezTo>
                  <a:pt x="379" y="320"/>
                  <a:pt x="379" y="320"/>
                  <a:pt x="379" y="320"/>
                </a:cubicBezTo>
                <a:cubicBezTo>
                  <a:pt x="387" y="303"/>
                  <a:pt x="392" y="285"/>
                  <a:pt x="394" y="266"/>
                </a:cubicBezTo>
                <a:cubicBezTo>
                  <a:pt x="319" y="266"/>
                  <a:pt x="319" y="266"/>
                  <a:pt x="319" y="266"/>
                </a:cubicBezTo>
                <a:cubicBezTo>
                  <a:pt x="319" y="284"/>
                  <a:pt x="317" y="303"/>
                  <a:pt x="314" y="320"/>
                </a:cubicBezTo>
                <a:close/>
                <a:moveTo>
                  <a:pt x="147" y="341"/>
                </a:moveTo>
                <a:cubicBezTo>
                  <a:pt x="165" y="364"/>
                  <a:pt x="190" y="381"/>
                  <a:pt x="220" y="389"/>
                </a:cubicBezTo>
                <a:cubicBezTo>
                  <a:pt x="212" y="377"/>
                  <a:pt x="206" y="360"/>
                  <a:pt x="201" y="341"/>
                </a:cubicBezTo>
                <a:lnTo>
                  <a:pt x="147" y="341"/>
                </a:lnTo>
                <a:close/>
                <a:moveTo>
                  <a:pt x="292" y="389"/>
                </a:moveTo>
                <a:cubicBezTo>
                  <a:pt x="321" y="381"/>
                  <a:pt x="347" y="364"/>
                  <a:pt x="365" y="341"/>
                </a:cubicBezTo>
                <a:cubicBezTo>
                  <a:pt x="310" y="341"/>
                  <a:pt x="310" y="341"/>
                  <a:pt x="310" y="341"/>
                </a:cubicBezTo>
                <a:cubicBezTo>
                  <a:pt x="306" y="360"/>
                  <a:pt x="299" y="377"/>
                  <a:pt x="292" y="389"/>
                </a:cubicBezTo>
                <a:close/>
                <a:moveTo>
                  <a:pt x="256" y="394"/>
                </a:moveTo>
                <a:cubicBezTo>
                  <a:pt x="266" y="394"/>
                  <a:pt x="279" y="375"/>
                  <a:pt x="288" y="341"/>
                </a:cubicBezTo>
                <a:cubicBezTo>
                  <a:pt x="223" y="341"/>
                  <a:pt x="223" y="341"/>
                  <a:pt x="223" y="341"/>
                </a:cubicBezTo>
                <a:cubicBezTo>
                  <a:pt x="232" y="375"/>
                  <a:pt x="245" y="394"/>
                  <a:pt x="256" y="394"/>
                </a:cubicBezTo>
                <a:close/>
              </a:path>
            </a:pathLst>
          </a:custGeom>
          <a:solidFill>
            <a:srgbClr val="69369B"/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9DDF38-3FF0-4C9F-BDD8-EE4BEC841324}"/>
              </a:ext>
            </a:extLst>
          </p:cNvPr>
          <p:cNvSpPr txBox="1"/>
          <p:nvPr/>
        </p:nvSpPr>
        <p:spPr>
          <a:xfrm>
            <a:off x="298174" y="6308209"/>
            <a:ext cx="4890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Access </a:t>
            </a:r>
            <a:r>
              <a:rPr lang="nl-NL" dirty="0" err="1">
                <a:solidFill>
                  <a:schemeClr val="bg1"/>
                </a:solidFill>
              </a:rPr>
              <a:t>session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aterials</a:t>
            </a:r>
            <a:r>
              <a:rPr lang="nl-NL" dirty="0">
                <a:solidFill>
                  <a:schemeClr val="bg1"/>
                </a:solidFill>
              </a:rPr>
              <a:t>: https://bit.ly/3cWcIsV</a:t>
            </a:r>
          </a:p>
        </p:txBody>
      </p:sp>
    </p:spTree>
    <p:extLst>
      <p:ext uri="{BB962C8B-B14F-4D97-AF65-F5344CB8AC3E}">
        <p14:creationId xmlns:p14="http://schemas.microsoft.com/office/powerpoint/2010/main" val="391497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517D29C-2EC3-4A85-89E5-B44FAEF127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437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517D29C-2EC3-4A85-89E5-B44FAEF12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761296-9429-4EEE-9AAC-CA7DC6CAA1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5789BB-1406-436C-A5DA-98E5543220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>
                <a:solidFill>
                  <a:srgbClr val="69369B"/>
                </a:solidFill>
                <a:latin typeface="Arial Black" panose="020B0A04020102020204" pitchFamily="34" charset="0"/>
              </a:rPr>
              <a:t>R Markdow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94E1AF-CD33-4331-9772-F90E14B1CD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8747" y="1823779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utputs high-quality, reproducible documents: </a:t>
            </a:r>
          </a:p>
          <a:p>
            <a:pPr marL="854075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TML-files </a:t>
            </a:r>
          </a:p>
          <a:p>
            <a:pPr marL="854075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DF documents</a:t>
            </a:r>
          </a:p>
          <a:p>
            <a:pPr marL="854075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esentations</a:t>
            </a:r>
          </a:p>
          <a:p>
            <a:pPr marL="854075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ashboards</a:t>
            </a:r>
          </a:p>
          <a:p>
            <a:pPr marL="0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Check out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R Markdown cheat sheet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3E55CD6-3D1F-4C08-BCDB-8AB653827992}"/>
              </a:ext>
            </a:extLst>
          </p:cNvPr>
          <p:cNvGrpSpPr/>
          <p:nvPr/>
        </p:nvGrpSpPr>
        <p:grpSpPr>
          <a:xfrm>
            <a:off x="6281530" y="164280"/>
            <a:ext cx="5617543" cy="385511"/>
            <a:chOff x="1954696" y="1965704"/>
            <a:chExt cx="6819162" cy="548642"/>
          </a:xfrm>
        </p:grpSpPr>
        <p:sp>
          <p:nvSpPr>
            <p:cNvPr id="8" name="Pentagon 15">
              <a:extLst>
                <a:ext uri="{FF2B5EF4-FFF2-40B4-BE49-F238E27FC236}">
                  <a16:creationId xmlns:a16="http://schemas.microsoft.com/office/drawing/2014/main" id="{80D2823F-C762-4D6A-ADB6-A20A0BC3F177}"/>
                </a:ext>
              </a:extLst>
            </p:cNvPr>
            <p:cNvSpPr/>
            <p:nvPr/>
          </p:nvSpPr>
          <p:spPr>
            <a:xfrm>
              <a:off x="1954696" y="1965704"/>
              <a:ext cx="1828800" cy="548640"/>
            </a:xfrm>
            <a:prstGeom prst="homePlate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keeping</a:t>
              </a:r>
            </a:p>
          </p:txBody>
        </p:sp>
        <p:sp>
          <p:nvSpPr>
            <p:cNvPr id="9" name="Chevron 17">
              <a:extLst>
                <a:ext uri="{FF2B5EF4-FFF2-40B4-BE49-F238E27FC236}">
                  <a16:creationId xmlns:a16="http://schemas.microsoft.com/office/drawing/2014/main" id="{9E9AE0EB-5B09-4DCB-8D50-552B6BB3B3C6}"/>
                </a:ext>
              </a:extLst>
            </p:cNvPr>
            <p:cNvSpPr/>
            <p:nvPr/>
          </p:nvSpPr>
          <p:spPr>
            <a:xfrm>
              <a:off x="3618150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 to R</a:t>
              </a:r>
            </a:p>
          </p:txBody>
        </p:sp>
        <p:sp>
          <p:nvSpPr>
            <p:cNvPr id="10" name="Chevron 18">
              <a:extLst>
                <a:ext uri="{FF2B5EF4-FFF2-40B4-BE49-F238E27FC236}">
                  <a16:creationId xmlns:a16="http://schemas.microsoft.com/office/drawing/2014/main" id="{62A74E75-2662-4A29-AE5B-A7CB4E345C57}"/>
                </a:ext>
              </a:extLst>
            </p:cNvPr>
            <p:cNvSpPr/>
            <p:nvPr/>
          </p:nvSpPr>
          <p:spPr>
            <a:xfrm>
              <a:off x="5281604" y="1965706"/>
              <a:ext cx="1828800" cy="548640"/>
            </a:xfrm>
            <a:prstGeom prst="chevron">
              <a:avLst/>
            </a:prstGeom>
            <a:solidFill>
              <a:srgbClr val="69369B"/>
            </a:solidFill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Markdown</a:t>
              </a:r>
              <a:endParaRPr lang="en-US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Chevron 24">
              <a:extLst>
                <a:ext uri="{FF2B5EF4-FFF2-40B4-BE49-F238E27FC236}">
                  <a16:creationId xmlns:a16="http://schemas.microsoft.com/office/drawing/2014/main" id="{2A9219AA-BF6E-4E4A-8B1C-151046E3D61E}"/>
                </a:ext>
              </a:extLst>
            </p:cNvPr>
            <p:cNvSpPr/>
            <p:nvPr/>
          </p:nvSpPr>
          <p:spPr>
            <a:xfrm>
              <a:off x="6945058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mo</a:t>
              </a:r>
            </a:p>
          </p:txBody>
        </p:sp>
      </p:grpSp>
      <p:sp>
        <p:nvSpPr>
          <p:cNvPr id="12" name="Freeform 556">
            <a:extLst>
              <a:ext uri="{FF2B5EF4-FFF2-40B4-BE49-F238E27FC236}">
                <a16:creationId xmlns:a16="http://schemas.microsoft.com/office/drawing/2014/main" id="{5B1137AD-B559-4823-AE42-DB3B37D41BA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7323" y="4447749"/>
            <a:ext cx="456494" cy="457836"/>
          </a:xfrm>
          <a:custGeom>
            <a:avLst/>
            <a:gdLst>
              <a:gd name="T0" fmla="*/ 298 w 512"/>
              <a:gd name="T1" fmla="*/ 213 h 512"/>
              <a:gd name="T2" fmla="*/ 349 w 512"/>
              <a:gd name="T3" fmla="*/ 213 h 512"/>
              <a:gd name="T4" fmla="*/ 215 w 512"/>
              <a:gd name="T5" fmla="*/ 363 h 512"/>
              <a:gd name="T6" fmla="*/ 245 w 512"/>
              <a:gd name="T7" fmla="*/ 259 h 512"/>
              <a:gd name="T8" fmla="*/ 243 w 512"/>
              <a:gd name="T9" fmla="*/ 249 h 512"/>
              <a:gd name="T10" fmla="*/ 234 w 512"/>
              <a:gd name="T11" fmla="*/ 245 h 512"/>
              <a:gd name="T12" fmla="*/ 187 w 512"/>
              <a:gd name="T13" fmla="*/ 245 h 512"/>
              <a:gd name="T14" fmla="*/ 241 w 512"/>
              <a:gd name="T15" fmla="*/ 117 h 512"/>
              <a:gd name="T16" fmla="*/ 325 w 512"/>
              <a:gd name="T17" fmla="*/ 117 h 512"/>
              <a:gd name="T18" fmla="*/ 289 w 512"/>
              <a:gd name="T19" fmla="*/ 198 h 512"/>
              <a:gd name="T20" fmla="*/ 289 w 512"/>
              <a:gd name="T21" fmla="*/ 208 h 512"/>
              <a:gd name="T22" fmla="*/ 298 w 512"/>
              <a:gd name="T23" fmla="*/ 213 h 512"/>
              <a:gd name="T24" fmla="*/ 512 w 512"/>
              <a:gd name="T25" fmla="*/ 256 h 512"/>
              <a:gd name="T26" fmla="*/ 256 w 512"/>
              <a:gd name="T27" fmla="*/ 512 h 512"/>
              <a:gd name="T28" fmla="*/ 0 w 512"/>
              <a:gd name="T29" fmla="*/ 256 h 512"/>
              <a:gd name="T30" fmla="*/ 256 w 512"/>
              <a:gd name="T31" fmla="*/ 0 h 512"/>
              <a:gd name="T32" fmla="*/ 512 w 512"/>
              <a:gd name="T33" fmla="*/ 256 h 512"/>
              <a:gd name="T34" fmla="*/ 383 w 512"/>
              <a:gd name="T35" fmla="*/ 198 h 512"/>
              <a:gd name="T36" fmla="*/ 373 w 512"/>
              <a:gd name="T37" fmla="*/ 192 h 512"/>
              <a:gd name="T38" fmla="*/ 315 w 512"/>
              <a:gd name="T39" fmla="*/ 192 h 512"/>
              <a:gd name="T40" fmla="*/ 351 w 512"/>
              <a:gd name="T41" fmla="*/ 111 h 512"/>
              <a:gd name="T42" fmla="*/ 350 w 512"/>
              <a:gd name="T43" fmla="*/ 101 h 512"/>
              <a:gd name="T44" fmla="*/ 341 w 512"/>
              <a:gd name="T45" fmla="*/ 96 h 512"/>
              <a:gd name="T46" fmla="*/ 234 w 512"/>
              <a:gd name="T47" fmla="*/ 96 h 512"/>
              <a:gd name="T48" fmla="*/ 225 w 512"/>
              <a:gd name="T49" fmla="*/ 102 h 512"/>
              <a:gd name="T50" fmla="*/ 161 w 512"/>
              <a:gd name="T51" fmla="*/ 251 h 512"/>
              <a:gd name="T52" fmla="*/ 161 w 512"/>
              <a:gd name="T53" fmla="*/ 262 h 512"/>
              <a:gd name="T54" fmla="*/ 170 w 512"/>
              <a:gd name="T55" fmla="*/ 266 h 512"/>
              <a:gd name="T56" fmla="*/ 220 w 512"/>
              <a:gd name="T57" fmla="*/ 266 h 512"/>
              <a:gd name="T58" fmla="*/ 181 w 512"/>
              <a:gd name="T59" fmla="*/ 402 h 512"/>
              <a:gd name="T60" fmla="*/ 187 w 512"/>
              <a:gd name="T61" fmla="*/ 414 h 512"/>
              <a:gd name="T62" fmla="*/ 192 w 512"/>
              <a:gd name="T63" fmla="*/ 416 h 512"/>
              <a:gd name="T64" fmla="*/ 200 w 512"/>
              <a:gd name="T65" fmla="*/ 412 h 512"/>
              <a:gd name="T66" fmla="*/ 381 w 512"/>
              <a:gd name="T67" fmla="*/ 209 h 512"/>
              <a:gd name="T68" fmla="*/ 383 w 512"/>
              <a:gd name="T69" fmla="*/ 19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98" y="213"/>
                </a:moveTo>
                <a:cubicBezTo>
                  <a:pt x="349" y="213"/>
                  <a:pt x="349" y="213"/>
                  <a:pt x="349" y="213"/>
                </a:cubicBezTo>
                <a:cubicBezTo>
                  <a:pt x="215" y="363"/>
                  <a:pt x="215" y="363"/>
                  <a:pt x="215" y="363"/>
                </a:cubicBezTo>
                <a:cubicBezTo>
                  <a:pt x="245" y="259"/>
                  <a:pt x="245" y="259"/>
                  <a:pt x="245" y="259"/>
                </a:cubicBezTo>
                <a:cubicBezTo>
                  <a:pt x="246" y="255"/>
                  <a:pt x="245" y="252"/>
                  <a:pt x="243" y="249"/>
                </a:cubicBezTo>
                <a:cubicBezTo>
                  <a:pt x="241" y="247"/>
                  <a:pt x="238" y="245"/>
                  <a:pt x="234" y="245"/>
                </a:cubicBezTo>
                <a:cubicBezTo>
                  <a:pt x="187" y="245"/>
                  <a:pt x="187" y="245"/>
                  <a:pt x="187" y="245"/>
                </a:cubicBezTo>
                <a:cubicBezTo>
                  <a:pt x="241" y="117"/>
                  <a:pt x="241" y="117"/>
                  <a:pt x="241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289" y="198"/>
                  <a:pt x="289" y="198"/>
                  <a:pt x="289" y="198"/>
                </a:cubicBezTo>
                <a:cubicBezTo>
                  <a:pt x="287" y="201"/>
                  <a:pt x="287" y="205"/>
                  <a:pt x="289" y="208"/>
                </a:cubicBezTo>
                <a:cubicBezTo>
                  <a:pt x="291" y="211"/>
                  <a:pt x="295" y="213"/>
                  <a:pt x="298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83" y="198"/>
                </a:moveTo>
                <a:cubicBezTo>
                  <a:pt x="381" y="194"/>
                  <a:pt x="377" y="192"/>
                  <a:pt x="373" y="192"/>
                </a:cubicBezTo>
                <a:cubicBezTo>
                  <a:pt x="315" y="192"/>
                  <a:pt x="315" y="192"/>
                  <a:pt x="315" y="192"/>
                </a:cubicBezTo>
                <a:cubicBezTo>
                  <a:pt x="351" y="111"/>
                  <a:pt x="351" y="111"/>
                  <a:pt x="351" y="111"/>
                </a:cubicBezTo>
                <a:cubicBezTo>
                  <a:pt x="352" y="107"/>
                  <a:pt x="352" y="104"/>
                  <a:pt x="350" y="101"/>
                </a:cubicBezTo>
                <a:cubicBezTo>
                  <a:pt x="348" y="97"/>
                  <a:pt x="345" y="96"/>
                  <a:pt x="341" y="96"/>
                </a:cubicBezTo>
                <a:cubicBezTo>
                  <a:pt x="234" y="96"/>
                  <a:pt x="234" y="96"/>
                  <a:pt x="234" y="96"/>
                </a:cubicBezTo>
                <a:cubicBezTo>
                  <a:pt x="230" y="96"/>
                  <a:pt x="226" y="98"/>
                  <a:pt x="225" y="102"/>
                </a:cubicBezTo>
                <a:cubicBezTo>
                  <a:pt x="161" y="251"/>
                  <a:pt x="161" y="251"/>
                  <a:pt x="161" y="251"/>
                </a:cubicBezTo>
                <a:cubicBezTo>
                  <a:pt x="159" y="255"/>
                  <a:pt x="159" y="259"/>
                  <a:pt x="161" y="262"/>
                </a:cubicBezTo>
                <a:cubicBezTo>
                  <a:pt x="163" y="265"/>
                  <a:pt x="167" y="266"/>
                  <a:pt x="170" y="266"/>
                </a:cubicBezTo>
                <a:cubicBezTo>
                  <a:pt x="220" y="266"/>
                  <a:pt x="220" y="266"/>
                  <a:pt x="220" y="266"/>
                </a:cubicBezTo>
                <a:cubicBezTo>
                  <a:pt x="181" y="402"/>
                  <a:pt x="181" y="402"/>
                  <a:pt x="181" y="402"/>
                </a:cubicBezTo>
                <a:cubicBezTo>
                  <a:pt x="180" y="407"/>
                  <a:pt x="182" y="412"/>
                  <a:pt x="187" y="414"/>
                </a:cubicBezTo>
                <a:cubicBezTo>
                  <a:pt x="188" y="415"/>
                  <a:pt x="190" y="416"/>
                  <a:pt x="192" y="416"/>
                </a:cubicBezTo>
                <a:cubicBezTo>
                  <a:pt x="195" y="416"/>
                  <a:pt x="198" y="414"/>
                  <a:pt x="200" y="412"/>
                </a:cubicBezTo>
                <a:cubicBezTo>
                  <a:pt x="381" y="209"/>
                  <a:pt x="381" y="209"/>
                  <a:pt x="381" y="209"/>
                </a:cubicBezTo>
                <a:cubicBezTo>
                  <a:pt x="384" y="206"/>
                  <a:pt x="384" y="202"/>
                  <a:pt x="383" y="198"/>
                </a:cubicBezTo>
                <a:close/>
              </a:path>
            </a:pathLst>
          </a:custGeom>
          <a:solidFill>
            <a:srgbClr val="6936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01DC61FB-1D6E-4F8B-8C86-D1432BE532AC}"/>
              </a:ext>
            </a:extLst>
          </p:cNvPr>
          <p:cNvCxnSpPr>
            <a:cxnSpLocks/>
          </p:cNvCxnSpPr>
          <p:nvPr/>
        </p:nvCxnSpPr>
        <p:spPr>
          <a:xfrm>
            <a:off x="748747" y="2220214"/>
            <a:ext cx="636104" cy="387625"/>
          </a:xfrm>
          <a:prstGeom prst="bentConnector3">
            <a:avLst>
              <a:gd name="adj1" fmla="val 1562"/>
            </a:avLst>
          </a:prstGeom>
          <a:ln w="19050" cap="flat" cmpd="sng" algn="ctr">
            <a:solidFill>
              <a:srgbClr val="69369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4759B620-1E5A-4D94-82CA-57A49EE2FFC8}"/>
              </a:ext>
            </a:extLst>
          </p:cNvPr>
          <p:cNvCxnSpPr>
            <a:cxnSpLocks/>
          </p:cNvCxnSpPr>
          <p:nvPr/>
        </p:nvCxnSpPr>
        <p:spPr>
          <a:xfrm>
            <a:off x="748747" y="2606749"/>
            <a:ext cx="636104" cy="387625"/>
          </a:xfrm>
          <a:prstGeom prst="bentConnector3">
            <a:avLst>
              <a:gd name="adj1" fmla="val 1562"/>
            </a:avLst>
          </a:prstGeom>
          <a:ln w="19050" cap="flat" cmpd="sng" algn="ctr">
            <a:solidFill>
              <a:srgbClr val="69369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A98A982D-68DA-4F9C-8D65-8A3B9E8A33BA}"/>
              </a:ext>
            </a:extLst>
          </p:cNvPr>
          <p:cNvCxnSpPr>
            <a:cxnSpLocks/>
          </p:cNvCxnSpPr>
          <p:nvPr/>
        </p:nvCxnSpPr>
        <p:spPr>
          <a:xfrm>
            <a:off x="748747" y="2984404"/>
            <a:ext cx="636104" cy="387625"/>
          </a:xfrm>
          <a:prstGeom prst="bentConnector3">
            <a:avLst>
              <a:gd name="adj1" fmla="val 1562"/>
            </a:avLst>
          </a:prstGeom>
          <a:ln w="19050" cap="flat" cmpd="sng" algn="ctr">
            <a:solidFill>
              <a:srgbClr val="69369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C2750A03-CF4D-4F48-AB4C-C349054A131D}"/>
              </a:ext>
            </a:extLst>
          </p:cNvPr>
          <p:cNvCxnSpPr>
            <a:cxnSpLocks/>
          </p:cNvCxnSpPr>
          <p:nvPr/>
        </p:nvCxnSpPr>
        <p:spPr>
          <a:xfrm>
            <a:off x="748747" y="3360969"/>
            <a:ext cx="636104" cy="387625"/>
          </a:xfrm>
          <a:prstGeom prst="bentConnector3">
            <a:avLst>
              <a:gd name="adj1" fmla="val 1562"/>
            </a:avLst>
          </a:prstGeom>
          <a:ln w="19050" cap="flat" cmpd="sng" algn="ctr">
            <a:solidFill>
              <a:srgbClr val="69369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AB460A1-0C68-48C8-97BF-FF37067CAB40}"/>
              </a:ext>
            </a:extLst>
          </p:cNvPr>
          <p:cNvSpPr txBox="1"/>
          <p:nvPr/>
        </p:nvSpPr>
        <p:spPr>
          <a:xfrm>
            <a:off x="298174" y="6308209"/>
            <a:ext cx="4890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Access </a:t>
            </a:r>
            <a:r>
              <a:rPr lang="nl-NL" dirty="0" err="1">
                <a:solidFill>
                  <a:schemeClr val="bg1"/>
                </a:solidFill>
              </a:rPr>
              <a:t>session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aterials</a:t>
            </a:r>
            <a:r>
              <a:rPr lang="nl-NL" dirty="0">
                <a:solidFill>
                  <a:schemeClr val="bg1"/>
                </a:solidFill>
              </a:rPr>
              <a:t>: https://bit.ly/3cWcIsV</a:t>
            </a:r>
          </a:p>
        </p:txBody>
      </p:sp>
    </p:spTree>
    <p:extLst>
      <p:ext uri="{BB962C8B-B14F-4D97-AF65-F5344CB8AC3E}">
        <p14:creationId xmlns:p14="http://schemas.microsoft.com/office/powerpoint/2010/main" val="8704642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8C6802E-49AB-42C1-917B-934D1BF703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83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8C6802E-49AB-42C1-917B-934D1BF703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CFD7004-E1E2-419B-8180-B662DE2B39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46094" y="729283"/>
            <a:ext cx="7158593" cy="503888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00A6374-159E-487C-A1C3-F7F8F9563139}"/>
              </a:ext>
            </a:extLst>
          </p:cNvPr>
          <p:cNvSpPr/>
          <p:nvPr/>
        </p:nvSpPr>
        <p:spPr>
          <a:xfrm>
            <a:off x="491970" y="728287"/>
            <a:ext cx="3619500" cy="1320800"/>
          </a:xfrm>
          <a:prstGeom prst="rect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71F22C-77E7-4F95-B0F0-D8D2B637124A}"/>
              </a:ext>
            </a:extLst>
          </p:cNvPr>
          <p:cNvSpPr txBox="1"/>
          <p:nvPr/>
        </p:nvSpPr>
        <p:spPr>
          <a:xfrm>
            <a:off x="4270473" y="1019355"/>
            <a:ext cx="14259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69369B"/>
                </a:solidFill>
              </a:rPr>
              <a:t>YAML header</a:t>
            </a:r>
            <a:endParaRPr lang="nl-NL" dirty="0">
              <a:solidFill>
                <a:srgbClr val="69369B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289DCCF-D68B-4F96-9F52-86D2BA2F4C0E}"/>
              </a:ext>
            </a:extLst>
          </p:cNvPr>
          <p:cNvSpPr/>
          <p:nvPr/>
        </p:nvSpPr>
        <p:spPr>
          <a:xfrm>
            <a:off x="825778" y="3622416"/>
            <a:ext cx="2750128" cy="651164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01BAA3-23FF-4260-8910-1C7DEAEBBAF6}"/>
              </a:ext>
            </a:extLst>
          </p:cNvPr>
          <p:cNvSpPr txBox="1"/>
          <p:nvPr/>
        </p:nvSpPr>
        <p:spPr>
          <a:xfrm>
            <a:off x="3695893" y="3705148"/>
            <a:ext cx="1287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69369B"/>
                </a:solidFill>
              </a:rPr>
              <a:t>Code chunk</a:t>
            </a:r>
            <a:endParaRPr lang="nl-NL" dirty="0">
              <a:solidFill>
                <a:srgbClr val="69369B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4580F4A-A70A-4039-ADBB-1F9E72E1C531}"/>
              </a:ext>
            </a:extLst>
          </p:cNvPr>
          <p:cNvGrpSpPr/>
          <p:nvPr/>
        </p:nvGrpSpPr>
        <p:grpSpPr>
          <a:xfrm>
            <a:off x="6281530" y="164280"/>
            <a:ext cx="5617543" cy="385511"/>
            <a:chOff x="1954696" y="1965704"/>
            <a:chExt cx="6819162" cy="548642"/>
          </a:xfrm>
        </p:grpSpPr>
        <p:sp>
          <p:nvSpPr>
            <p:cNvPr id="11" name="Pentagon 15">
              <a:extLst>
                <a:ext uri="{FF2B5EF4-FFF2-40B4-BE49-F238E27FC236}">
                  <a16:creationId xmlns:a16="http://schemas.microsoft.com/office/drawing/2014/main" id="{973C564A-3112-4320-AB1E-1DFCA2C08B1B}"/>
                </a:ext>
              </a:extLst>
            </p:cNvPr>
            <p:cNvSpPr/>
            <p:nvPr/>
          </p:nvSpPr>
          <p:spPr>
            <a:xfrm>
              <a:off x="1954696" y="1965704"/>
              <a:ext cx="1828800" cy="548640"/>
            </a:xfrm>
            <a:prstGeom prst="homePlate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keeping</a:t>
              </a:r>
            </a:p>
          </p:txBody>
        </p:sp>
        <p:sp>
          <p:nvSpPr>
            <p:cNvPr id="12" name="Chevron 17">
              <a:extLst>
                <a:ext uri="{FF2B5EF4-FFF2-40B4-BE49-F238E27FC236}">
                  <a16:creationId xmlns:a16="http://schemas.microsoft.com/office/drawing/2014/main" id="{27BB6C69-75D0-460D-8006-88519C710C70}"/>
                </a:ext>
              </a:extLst>
            </p:cNvPr>
            <p:cNvSpPr/>
            <p:nvPr/>
          </p:nvSpPr>
          <p:spPr>
            <a:xfrm>
              <a:off x="3618150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 to R</a:t>
              </a:r>
            </a:p>
          </p:txBody>
        </p:sp>
        <p:sp>
          <p:nvSpPr>
            <p:cNvPr id="13" name="Chevron 18">
              <a:extLst>
                <a:ext uri="{FF2B5EF4-FFF2-40B4-BE49-F238E27FC236}">
                  <a16:creationId xmlns:a16="http://schemas.microsoft.com/office/drawing/2014/main" id="{EE0AB537-87D6-41B6-971A-336C8796D4BF}"/>
                </a:ext>
              </a:extLst>
            </p:cNvPr>
            <p:cNvSpPr/>
            <p:nvPr/>
          </p:nvSpPr>
          <p:spPr>
            <a:xfrm>
              <a:off x="5281604" y="1965706"/>
              <a:ext cx="1828800" cy="548640"/>
            </a:xfrm>
            <a:prstGeom prst="chevron">
              <a:avLst/>
            </a:prstGeom>
            <a:solidFill>
              <a:srgbClr val="69369B"/>
            </a:solidFill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Markdown</a:t>
              </a:r>
              <a:endParaRPr lang="en-US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Chevron 24">
              <a:extLst>
                <a:ext uri="{FF2B5EF4-FFF2-40B4-BE49-F238E27FC236}">
                  <a16:creationId xmlns:a16="http://schemas.microsoft.com/office/drawing/2014/main" id="{212D1251-7AF2-4371-8A71-C41ECF5F60D5}"/>
                </a:ext>
              </a:extLst>
            </p:cNvPr>
            <p:cNvSpPr/>
            <p:nvPr/>
          </p:nvSpPr>
          <p:spPr>
            <a:xfrm>
              <a:off x="6945058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mo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0244A05D-D518-45BF-A0CA-431E2110327A}"/>
              </a:ext>
            </a:extLst>
          </p:cNvPr>
          <p:cNvSpPr txBox="1"/>
          <p:nvPr/>
        </p:nvSpPr>
        <p:spPr>
          <a:xfrm>
            <a:off x="298174" y="6308209"/>
            <a:ext cx="4890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Access </a:t>
            </a:r>
            <a:r>
              <a:rPr lang="nl-NL" dirty="0" err="1">
                <a:solidFill>
                  <a:schemeClr val="bg1"/>
                </a:solidFill>
              </a:rPr>
              <a:t>session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aterials</a:t>
            </a:r>
            <a:r>
              <a:rPr lang="nl-NL" dirty="0">
                <a:solidFill>
                  <a:schemeClr val="bg1"/>
                </a:solidFill>
              </a:rPr>
              <a:t>: https://bit.ly/3cWcIsV</a:t>
            </a:r>
          </a:p>
        </p:txBody>
      </p:sp>
    </p:spTree>
    <p:extLst>
      <p:ext uri="{BB962C8B-B14F-4D97-AF65-F5344CB8AC3E}">
        <p14:creationId xmlns:p14="http://schemas.microsoft.com/office/powerpoint/2010/main" val="19229407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ACABAAC-7BE0-4329-B478-60137B939D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64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ACABAAC-7BE0-4329-B478-60137B939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2B79477-D497-4AD4-A885-EA537C2DE3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CC34CE-7C88-4AAE-9E1A-D9E939BFF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>
                <a:solidFill>
                  <a:srgbClr val="69369B"/>
                </a:solidFill>
                <a:latin typeface="Arial Black" panose="020B0A04020102020204" pitchFamily="34" charset="0"/>
              </a:rPr>
              <a:t>Parameterized Reports in R</a:t>
            </a:r>
            <a:endParaRPr lang="nl-NL" sz="3600" b="1" dirty="0">
              <a:solidFill>
                <a:srgbClr val="69369B"/>
              </a:solidFill>
              <a:latin typeface="Arial Black" panose="020B0A04020102020204" pitchFamily="34" charset="0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1363B8E-022B-4C54-A1B1-EDAD6EE323B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917713" y="1549315"/>
            <a:ext cx="10515600" cy="18796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633026F-60AA-4919-869D-561D9BB09E0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7713" y="3879781"/>
            <a:ext cx="2276475" cy="130492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808A1AF-77DE-447A-95E6-607ADC192B87}"/>
              </a:ext>
            </a:extLst>
          </p:cNvPr>
          <p:cNvGrpSpPr/>
          <p:nvPr/>
        </p:nvGrpSpPr>
        <p:grpSpPr>
          <a:xfrm>
            <a:off x="6281530" y="164280"/>
            <a:ext cx="5617543" cy="385511"/>
            <a:chOff x="1954696" y="1965704"/>
            <a:chExt cx="6819162" cy="548642"/>
          </a:xfrm>
        </p:grpSpPr>
        <p:sp>
          <p:nvSpPr>
            <p:cNvPr id="10" name="Pentagon 15">
              <a:extLst>
                <a:ext uri="{FF2B5EF4-FFF2-40B4-BE49-F238E27FC236}">
                  <a16:creationId xmlns:a16="http://schemas.microsoft.com/office/drawing/2014/main" id="{7F19F9D3-0843-4046-8B38-887FF334295C}"/>
                </a:ext>
              </a:extLst>
            </p:cNvPr>
            <p:cNvSpPr/>
            <p:nvPr/>
          </p:nvSpPr>
          <p:spPr>
            <a:xfrm>
              <a:off x="1954696" y="1965704"/>
              <a:ext cx="1828800" cy="548640"/>
            </a:xfrm>
            <a:prstGeom prst="homePlate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keeping</a:t>
              </a:r>
            </a:p>
          </p:txBody>
        </p:sp>
        <p:sp>
          <p:nvSpPr>
            <p:cNvPr id="11" name="Chevron 17">
              <a:extLst>
                <a:ext uri="{FF2B5EF4-FFF2-40B4-BE49-F238E27FC236}">
                  <a16:creationId xmlns:a16="http://schemas.microsoft.com/office/drawing/2014/main" id="{BB781C30-750C-400C-A8F0-5D8A3342CEE8}"/>
                </a:ext>
              </a:extLst>
            </p:cNvPr>
            <p:cNvSpPr/>
            <p:nvPr/>
          </p:nvSpPr>
          <p:spPr>
            <a:xfrm>
              <a:off x="3618150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 to R</a:t>
              </a:r>
            </a:p>
          </p:txBody>
        </p:sp>
        <p:sp>
          <p:nvSpPr>
            <p:cNvPr id="12" name="Chevron 18">
              <a:extLst>
                <a:ext uri="{FF2B5EF4-FFF2-40B4-BE49-F238E27FC236}">
                  <a16:creationId xmlns:a16="http://schemas.microsoft.com/office/drawing/2014/main" id="{437CD734-E26E-4D7D-8E23-FC033A96D054}"/>
                </a:ext>
              </a:extLst>
            </p:cNvPr>
            <p:cNvSpPr/>
            <p:nvPr/>
          </p:nvSpPr>
          <p:spPr>
            <a:xfrm>
              <a:off x="5281604" y="1965706"/>
              <a:ext cx="1828800" cy="548640"/>
            </a:xfrm>
            <a:prstGeom prst="chevron">
              <a:avLst/>
            </a:prstGeom>
            <a:solidFill>
              <a:srgbClr val="69369B"/>
            </a:solidFill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Markdown</a:t>
              </a:r>
              <a:endParaRPr lang="en-US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Chevron 24">
              <a:extLst>
                <a:ext uri="{FF2B5EF4-FFF2-40B4-BE49-F238E27FC236}">
                  <a16:creationId xmlns:a16="http://schemas.microsoft.com/office/drawing/2014/main" id="{34D8351F-6B97-4FFE-AC7D-1C43CF111E7B}"/>
                </a:ext>
              </a:extLst>
            </p:cNvPr>
            <p:cNvSpPr/>
            <p:nvPr/>
          </p:nvSpPr>
          <p:spPr>
            <a:xfrm>
              <a:off x="6945058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mo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B4E55C5-6DEB-46C4-97DA-FC0B314C1A7F}"/>
              </a:ext>
            </a:extLst>
          </p:cNvPr>
          <p:cNvSpPr txBox="1"/>
          <p:nvPr/>
        </p:nvSpPr>
        <p:spPr>
          <a:xfrm>
            <a:off x="298174" y="6308209"/>
            <a:ext cx="4890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Access </a:t>
            </a:r>
            <a:r>
              <a:rPr lang="nl-NL" dirty="0" err="1">
                <a:solidFill>
                  <a:schemeClr val="bg1"/>
                </a:solidFill>
              </a:rPr>
              <a:t>session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aterials</a:t>
            </a:r>
            <a:r>
              <a:rPr lang="nl-NL" dirty="0">
                <a:solidFill>
                  <a:schemeClr val="bg1"/>
                </a:solidFill>
              </a:rPr>
              <a:t>: https://bit.ly/3cWcIsV</a:t>
            </a:r>
          </a:p>
        </p:txBody>
      </p:sp>
    </p:spTree>
    <p:extLst>
      <p:ext uri="{BB962C8B-B14F-4D97-AF65-F5344CB8AC3E}">
        <p14:creationId xmlns:p14="http://schemas.microsoft.com/office/powerpoint/2010/main" val="11403842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ACABAAC-7BE0-4329-B478-60137B939D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652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ACABAAC-7BE0-4329-B478-60137B939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2B79477-D497-4AD4-A885-EA537C2DE3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CC34CE-7C88-4AAE-9E1A-D9E939BFF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>
                <a:solidFill>
                  <a:srgbClr val="69369B"/>
                </a:solidFill>
                <a:latin typeface="Arial Black" panose="020B0A04020102020204" pitchFamily="34" charset="0"/>
              </a:rPr>
              <a:t>Use Parameters in Filters</a:t>
            </a:r>
            <a:endParaRPr lang="nl-NL" sz="3600" b="1" dirty="0">
              <a:solidFill>
                <a:srgbClr val="69369B"/>
              </a:solidFill>
              <a:latin typeface="Arial Black" panose="020B0A040201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808A1AF-77DE-447A-95E6-607ADC192B87}"/>
              </a:ext>
            </a:extLst>
          </p:cNvPr>
          <p:cNvGrpSpPr/>
          <p:nvPr/>
        </p:nvGrpSpPr>
        <p:grpSpPr>
          <a:xfrm>
            <a:off x="6281530" y="164280"/>
            <a:ext cx="5617543" cy="385511"/>
            <a:chOff x="1954696" y="1965704"/>
            <a:chExt cx="6819162" cy="548642"/>
          </a:xfrm>
        </p:grpSpPr>
        <p:sp>
          <p:nvSpPr>
            <p:cNvPr id="10" name="Pentagon 15">
              <a:extLst>
                <a:ext uri="{FF2B5EF4-FFF2-40B4-BE49-F238E27FC236}">
                  <a16:creationId xmlns:a16="http://schemas.microsoft.com/office/drawing/2014/main" id="{7F19F9D3-0843-4046-8B38-887FF334295C}"/>
                </a:ext>
              </a:extLst>
            </p:cNvPr>
            <p:cNvSpPr/>
            <p:nvPr/>
          </p:nvSpPr>
          <p:spPr>
            <a:xfrm>
              <a:off x="1954696" y="1965704"/>
              <a:ext cx="1828800" cy="548640"/>
            </a:xfrm>
            <a:prstGeom prst="homePlate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keeping</a:t>
              </a:r>
            </a:p>
          </p:txBody>
        </p:sp>
        <p:sp>
          <p:nvSpPr>
            <p:cNvPr id="11" name="Chevron 17">
              <a:extLst>
                <a:ext uri="{FF2B5EF4-FFF2-40B4-BE49-F238E27FC236}">
                  <a16:creationId xmlns:a16="http://schemas.microsoft.com/office/drawing/2014/main" id="{BB781C30-750C-400C-A8F0-5D8A3342CEE8}"/>
                </a:ext>
              </a:extLst>
            </p:cNvPr>
            <p:cNvSpPr/>
            <p:nvPr/>
          </p:nvSpPr>
          <p:spPr>
            <a:xfrm>
              <a:off x="3618150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 to R</a:t>
              </a:r>
            </a:p>
          </p:txBody>
        </p:sp>
        <p:sp>
          <p:nvSpPr>
            <p:cNvPr id="12" name="Chevron 18">
              <a:extLst>
                <a:ext uri="{FF2B5EF4-FFF2-40B4-BE49-F238E27FC236}">
                  <a16:creationId xmlns:a16="http://schemas.microsoft.com/office/drawing/2014/main" id="{437CD734-E26E-4D7D-8E23-FC033A96D054}"/>
                </a:ext>
              </a:extLst>
            </p:cNvPr>
            <p:cNvSpPr/>
            <p:nvPr/>
          </p:nvSpPr>
          <p:spPr>
            <a:xfrm>
              <a:off x="5281604" y="1965706"/>
              <a:ext cx="1828800" cy="548640"/>
            </a:xfrm>
            <a:prstGeom prst="chevron">
              <a:avLst/>
            </a:prstGeom>
            <a:solidFill>
              <a:srgbClr val="69369B"/>
            </a:solidFill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Markdown</a:t>
              </a:r>
              <a:endParaRPr lang="en-US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Chevron 24">
              <a:extLst>
                <a:ext uri="{FF2B5EF4-FFF2-40B4-BE49-F238E27FC236}">
                  <a16:creationId xmlns:a16="http://schemas.microsoft.com/office/drawing/2014/main" id="{34D8351F-6B97-4FFE-AC7D-1C43CF111E7B}"/>
                </a:ext>
              </a:extLst>
            </p:cNvPr>
            <p:cNvSpPr/>
            <p:nvPr/>
          </p:nvSpPr>
          <p:spPr>
            <a:xfrm>
              <a:off x="6945058" y="1965706"/>
              <a:ext cx="1828800" cy="548640"/>
            </a:xfrm>
            <a:prstGeom prst="chevron">
              <a:avLst/>
            </a:prstGeom>
            <a:noFill/>
            <a:ln w="6350">
              <a:solidFill>
                <a:srgbClr val="693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8533" tIns="118533" rIns="118533" bIns="118533" rtlCol="0" anchor="ctr"/>
            <a:lstStyle/>
            <a:p>
              <a:r>
                <a:rPr lang="en-US" sz="13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mo</a:t>
              </a:r>
            </a:p>
          </p:txBody>
        </p:sp>
      </p:grp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58EC8CA-93C7-4DE7-9639-858C75081E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181BCFC-70FA-4384-9B5B-734D11BB3C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1818" y="1453293"/>
            <a:ext cx="9680712" cy="3459276"/>
          </a:xfrm>
          <a:prstGeom prst="rect">
            <a:avLst/>
          </a:prstGeom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14A61971-BCD2-44D6-85BF-235F6E379C87}"/>
              </a:ext>
            </a:extLst>
          </p:cNvPr>
          <p:cNvSpPr/>
          <p:nvPr/>
        </p:nvSpPr>
        <p:spPr>
          <a:xfrm rot="10800000">
            <a:off x="3140765" y="2133393"/>
            <a:ext cx="824948" cy="367748"/>
          </a:xfrm>
          <a:prstGeom prst="rightArrow">
            <a:avLst>
              <a:gd name="adj1" fmla="val 33783"/>
              <a:gd name="adj2" fmla="val 44595"/>
            </a:avLst>
          </a:prstGeom>
          <a:solidFill>
            <a:srgbClr val="6936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AE289BD9-77C8-403B-91B8-4E703A0CE191}"/>
              </a:ext>
            </a:extLst>
          </p:cNvPr>
          <p:cNvSpPr/>
          <p:nvPr/>
        </p:nvSpPr>
        <p:spPr>
          <a:xfrm rot="10800000">
            <a:off x="4687469" y="3245126"/>
            <a:ext cx="824948" cy="367748"/>
          </a:xfrm>
          <a:prstGeom prst="rightArrow">
            <a:avLst>
              <a:gd name="adj1" fmla="val 33783"/>
              <a:gd name="adj2" fmla="val 44595"/>
            </a:avLst>
          </a:prstGeom>
          <a:solidFill>
            <a:srgbClr val="6936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8AD167F-B6A4-4C69-ADC9-0D1AB968E2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818" y="5105118"/>
            <a:ext cx="5800725" cy="733425"/>
          </a:xfrm>
          <a:prstGeom prst="rect">
            <a:avLst/>
          </a:prstGeom>
        </p:spPr>
      </p:pic>
      <p:sp>
        <p:nvSpPr>
          <p:cNvPr id="19" name="Arrow: Right 18">
            <a:extLst>
              <a:ext uri="{FF2B5EF4-FFF2-40B4-BE49-F238E27FC236}">
                <a16:creationId xmlns:a16="http://schemas.microsoft.com/office/drawing/2014/main" id="{ABAA63B7-5433-4DAF-A52E-ED3BD9C4AF99}"/>
              </a:ext>
            </a:extLst>
          </p:cNvPr>
          <p:cNvSpPr/>
          <p:nvPr/>
        </p:nvSpPr>
        <p:spPr>
          <a:xfrm rot="10800000">
            <a:off x="6638925" y="5327958"/>
            <a:ext cx="824948" cy="367748"/>
          </a:xfrm>
          <a:prstGeom prst="rightArrow">
            <a:avLst>
              <a:gd name="adj1" fmla="val 33783"/>
              <a:gd name="adj2" fmla="val 44595"/>
            </a:avLst>
          </a:prstGeom>
          <a:solidFill>
            <a:srgbClr val="6936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4BC651-D766-4C4C-89A9-8010663A426E}"/>
              </a:ext>
            </a:extLst>
          </p:cNvPr>
          <p:cNvSpPr/>
          <p:nvPr/>
        </p:nvSpPr>
        <p:spPr>
          <a:xfrm>
            <a:off x="1172817" y="1825625"/>
            <a:ext cx="1828800" cy="857940"/>
          </a:xfrm>
          <a:prstGeom prst="rect">
            <a:avLst/>
          </a:prstGeom>
          <a:noFill/>
          <a:ln w="28575">
            <a:solidFill>
              <a:srgbClr val="693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FB14971-A66D-45EC-BD55-A442DC0B8C54}"/>
              </a:ext>
            </a:extLst>
          </p:cNvPr>
          <p:cNvSpPr/>
          <p:nvPr/>
        </p:nvSpPr>
        <p:spPr>
          <a:xfrm>
            <a:off x="2697780" y="3260242"/>
            <a:ext cx="1828800" cy="367749"/>
          </a:xfrm>
          <a:prstGeom prst="rect">
            <a:avLst/>
          </a:prstGeom>
          <a:noFill/>
          <a:ln w="28575">
            <a:solidFill>
              <a:srgbClr val="693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C8FDF87-EE4F-481B-9EF8-CB2D92EFF141}"/>
              </a:ext>
            </a:extLst>
          </p:cNvPr>
          <p:cNvSpPr/>
          <p:nvPr/>
        </p:nvSpPr>
        <p:spPr>
          <a:xfrm>
            <a:off x="3359426" y="5511832"/>
            <a:ext cx="1828800" cy="367749"/>
          </a:xfrm>
          <a:prstGeom prst="rect">
            <a:avLst/>
          </a:prstGeom>
          <a:noFill/>
          <a:ln w="28575">
            <a:solidFill>
              <a:srgbClr val="693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5BB9B6B-FBFF-4C2D-80B0-F37DF5516E0B}"/>
              </a:ext>
            </a:extLst>
          </p:cNvPr>
          <p:cNvSpPr txBox="1"/>
          <p:nvPr/>
        </p:nvSpPr>
        <p:spPr>
          <a:xfrm>
            <a:off x="298174" y="6308209"/>
            <a:ext cx="4890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bg1"/>
                </a:solidFill>
              </a:rPr>
              <a:t>Access </a:t>
            </a:r>
            <a:r>
              <a:rPr lang="nl-NL" dirty="0" err="1">
                <a:solidFill>
                  <a:schemeClr val="bg1"/>
                </a:solidFill>
              </a:rPr>
              <a:t>session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materials</a:t>
            </a:r>
            <a:r>
              <a:rPr lang="nl-NL" dirty="0">
                <a:solidFill>
                  <a:schemeClr val="bg1"/>
                </a:solidFill>
              </a:rPr>
              <a:t>: https://bit.ly/3cWcIsV</a:t>
            </a:r>
          </a:p>
        </p:txBody>
      </p:sp>
    </p:spTree>
    <p:extLst>
      <p:ext uri="{BB962C8B-B14F-4D97-AF65-F5344CB8AC3E}">
        <p14:creationId xmlns:p14="http://schemas.microsoft.com/office/powerpoint/2010/main" val="2290077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96ZGZhVKYCEh3Zg3BU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WrgzuY0.GX8_9EUAPg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6Ytoyn3IgyT.WhrJTL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uINd7X8.M0k0tXCZuV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uINd7X8.M0k0tXCZuV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GJDcsUSYL7dO62LtVw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GJDcsUSYL7dO62LtVw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7BWIYMmh.5vyaAs3.Z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dbPb60QogRoHtKp0_p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ZrC3_75Uy8xxhUo1uU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12489507E5AC4E99679603AAFB0319" ma:contentTypeVersion="7" ma:contentTypeDescription="Create a new document." ma:contentTypeScope="" ma:versionID="dcb49f9f38cd443dc961d3ed29d0f042">
  <xsd:schema xmlns:xsd="http://www.w3.org/2001/XMLSchema" xmlns:xs="http://www.w3.org/2001/XMLSchema" xmlns:p="http://schemas.microsoft.com/office/2006/metadata/properties" xmlns:ns3="ef92d38c-604d-4278-9bee-18071bf3dc4c" targetNamespace="http://schemas.microsoft.com/office/2006/metadata/properties" ma:root="true" ma:fieldsID="539fef63cca63dccf66f459fa07004ae" ns3:_="">
    <xsd:import namespace="ef92d38c-604d-4278-9bee-18071bf3dc4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92d38c-604d-4278-9bee-18071bf3dc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BA6FC17-60AF-44BB-B4F5-F1E47E3C2D55}">
  <ds:schemaRefs>
    <ds:schemaRef ds:uri="ef92d38c-604d-4278-9bee-18071bf3dc4c"/>
    <ds:schemaRef ds:uri="http://purl.org/dc/elements/1.1/"/>
    <ds:schemaRef ds:uri="http://schemas.microsoft.com/office/2006/documentManagement/types"/>
    <ds:schemaRef ds:uri="http://www.w3.org/XML/1998/namespace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2921D4D-3E83-419F-A226-33E186A97A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2B3A84-7380-499A-9853-6799525F54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f92d38c-604d-4278-9bee-18071bf3dc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6</TotalTime>
  <Words>428</Words>
  <Application>Microsoft Office PowerPoint</Application>
  <PresentationFormat>Widescreen</PresentationFormat>
  <Paragraphs>91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Calibri Light</vt:lpstr>
      <vt:lpstr>Wingdings 2</vt:lpstr>
      <vt:lpstr>Office Theme</vt:lpstr>
      <vt:lpstr>think-cell Slide</vt:lpstr>
      <vt:lpstr>R for Beginners: Learn How to Automate Your Reporting</vt:lpstr>
      <vt:lpstr>Agenda</vt:lpstr>
      <vt:lpstr>Housekeeping</vt:lpstr>
      <vt:lpstr>Basics of R</vt:lpstr>
      <vt:lpstr>Additional resources on R</vt:lpstr>
      <vt:lpstr>R Markdown</vt:lpstr>
      <vt:lpstr>PowerPoint Presentation</vt:lpstr>
      <vt:lpstr>Parameterized Reports in R</vt:lpstr>
      <vt:lpstr>Use Parameters in Filters</vt:lpstr>
      <vt:lpstr>Layout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Sholderer, Olga</dc:creator>
  <cp:lastModifiedBy>Sholderer, Olga</cp:lastModifiedBy>
  <cp:revision>4</cp:revision>
  <dcterms:created xsi:type="dcterms:W3CDTF">2020-05-16T12:42:10Z</dcterms:created>
  <dcterms:modified xsi:type="dcterms:W3CDTF">2020-06-11T08:0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12489507E5AC4E99679603AAFB0319</vt:lpwstr>
  </property>
</Properties>
</file>